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10.xml" ContentType="application/vnd.openxmlformats-officedocument.presentationml.notesSlide+xml"/>
  <Override PartName="/ppt/charts/chart7.xml" ContentType="application/vnd.openxmlformats-officedocument.drawingml.chart+xml"/>
  <Override PartName="/ppt/notesSlides/notesSlide11.xml" ContentType="application/vnd.openxmlformats-officedocument.presentationml.notesSlide+xml"/>
  <Override PartName="/ppt/charts/chart8.xml" ContentType="application/vnd.openxmlformats-officedocument.drawingml.chart+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64" r:id="rId2"/>
    <p:sldMasterId id="2147483776" r:id="rId3"/>
  </p:sldMasterIdLst>
  <p:notesMasterIdLst>
    <p:notesMasterId r:id="rId21"/>
  </p:notesMasterIdLst>
  <p:sldIdLst>
    <p:sldId id="438" r:id="rId4"/>
    <p:sldId id="439" r:id="rId5"/>
    <p:sldId id="440" r:id="rId6"/>
    <p:sldId id="441" r:id="rId7"/>
    <p:sldId id="442" r:id="rId8"/>
    <p:sldId id="443" r:id="rId9"/>
    <p:sldId id="444" r:id="rId10"/>
    <p:sldId id="445" r:id="rId11"/>
    <p:sldId id="446" r:id="rId12"/>
    <p:sldId id="447" r:id="rId13"/>
    <p:sldId id="448" r:id="rId14"/>
    <p:sldId id="449" r:id="rId15"/>
    <p:sldId id="450" r:id="rId16"/>
    <p:sldId id="451" r:id="rId17"/>
    <p:sldId id="452" r:id="rId18"/>
    <p:sldId id="453" r:id="rId19"/>
    <p:sldId id="454" r:id="rId2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p:restoredLeft sz="19559" autoAdjust="0"/>
    <p:restoredTop sz="94660"/>
  </p:normalViewPr>
  <p:slideViewPr>
    <p:cSldViewPr>
      <p:cViewPr varScale="1">
        <p:scale>
          <a:sx n="87" d="100"/>
          <a:sy n="87" d="100"/>
        </p:scale>
        <p:origin x="-534"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am\Documents\BASHH\BASHH%20Oxford%202016\Book1.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Sam\Documents\BASHH\BASHH%20Oxford%202016\Book1.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Sam\Documents\BASHH\BASHH%20Oxford%202016\Quarterly%20Report%20Q%20-%20Hep%20B%20Ethnicity.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Sam\Documents\BASHH\BASHH%20Hep%20B.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Sam\Documents\BASHH\BASHH%20Oxford%202016\Book1.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Sam\Documents\BASHH\BASHH%20Hep%20B.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Sam\Documents\BASHH\BASHH%20Hep%20B.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Sam\Documents\BASHH\BASHH%20Hep%20B.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nchor="t" anchorCtr="0"/>
          <a:lstStyle/>
          <a:p>
            <a:pPr>
              <a:defRPr/>
            </a:pPr>
            <a:r>
              <a:rPr lang="en-GB"/>
              <a:t>Hepatitis</a:t>
            </a:r>
            <a:r>
              <a:rPr lang="en-GB" baseline="0"/>
              <a:t> B Diagnoses</a:t>
            </a:r>
            <a:endParaRPr lang="en-GB"/>
          </a:p>
        </c:rich>
      </c:tx>
      <c:layout>
        <c:manualLayout>
          <c:xMode val="edge"/>
          <c:yMode val="edge"/>
          <c:x val="4.0147900233307429E-2"/>
          <c:y val="3.2882410428973163E-2"/>
        </c:manualLayout>
      </c:layout>
      <c:overlay val="0"/>
    </c:title>
    <c:autoTitleDeleted val="0"/>
    <c:view3D>
      <c:rotX val="60"/>
      <c:rotY val="0"/>
      <c:rAngAx val="0"/>
      <c:perspective val="30"/>
    </c:view3D>
    <c:floor>
      <c:thickness val="0"/>
    </c:floor>
    <c:sideWall>
      <c:thickness val="0"/>
    </c:sideWall>
    <c:backWall>
      <c:thickness val="0"/>
    </c:backWall>
    <c:plotArea>
      <c:layout/>
      <c:pie3DChart>
        <c:varyColors val="1"/>
        <c:ser>
          <c:idx val="0"/>
          <c:order val="0"/>
          <c:explosion val="25"/>
          <c:dLbls>
            <c:dLbl>
              <c:idx val="1"/>
              <c:layout>
                <c:manualLayout>
                  <c:x val="-0.13775024997222557"/>
                  <c:y val="-8.4492730562894205E-2"/>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0"/>
          </c:dLbls>
          <c:cat>
            <c:strRef>
              <c:f>Sheet1!$A$3:$A$5</c:f>
              <c:strCache>
                <c:ptCount val="3"/>
                <c:pt idx="0">
                  <c:v>Acute</c:v>
                </c:pt>
                <c:pt idx="1">
                  <c:v>Chronic</c:v>
                </c:pt>
                <c:pt idx="2">
                  <c:v>Chronic Previously Known</c:v>
                </c:pt>
              </c:strCache>
            </c:strRef>
          </c:cat>
          <c:val>
            <c:numRef>
              <c:f>Sheet1!$B$3:$B$5</c:f>
              <c:numCache>
                <c:formatCode>General</c:formatCode>
                <c:ptCount val="3"/>
                <c:pt idx="0">
                  <c:v>35</c:v>
                </c:pt>
                <c:pt idx="1">
                  <c:v>363</c:v>
                </c:pt>
                <c:pt idx="2">
                  <c:v>312</c:v>
                </c:pt>
              </c:numCache>
            </c:numRef>
          </c:val>
        </c:ser>
        <c:dLbls>
          <c:showLegendKey val="0"/>
          <c:showVal val="1"/>
          <c:showCatName val="0"/>
          <c:showSerName val="0"/>
          <c:showPercent val="0"/>
          <c:showBubbleSize val="0"/>
          <c:showLeaderLines val="0"/>
        </c:dLbls>
      </c:pie3DChart>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a:t>Where</a:t>
            </a:r>
            <a:r>
              <a:rPr lang="en-GB" baseline="0"/>
              <a:t> Tested</a:t>
            </a:r>
            <a:endParaRPr lang="en-GB"/>
          </a:p>
        </c:rich>
      </c:tx>
      <c:layout>
        <c:manualLayout>
          <c:xMode val="edge"/>
          <c:yMode val="edge"/>
          <c:x val="6.2350670832567623E-2"/>
          <c:y val="5.7231993005980093E-2"/>
        </c:manualLayout>
      </c:layout>
      <c:overlay val="0"/>
    </c:title>
    <c:autoTitleDeleted val="0"/>
    <c:view3D>
      <c:rotX val="60"/>
      <c:rotY val="0"/>
      <c:rAngAx val="0"/>
      <c:perspective val="30"/>
    </c:view3D>
    <c:floor>
      <c:thickness val="0"/>
    </c:floor>
    <c:sideWall>
      <c:thickness val="0"/>
    </c:sideWall>
    <c:backWall>
      <c:thickness val="0"/>
    </c:backWall>
    <c:plotArea>
      <c:layout/>
      <c:pie3DChart>
        <c:varyColors val="1"/>
        <c:ser>
          <c:idx val="0"/>
          <c:order val="0"/>
          <c:explosion val="25"/>
          <c:dLbls>
            <c:dLblPos val="outEnd"/>
            <c:showLegendKey val="0"/>
            <c:showVal val="1"/>
            <c:showCatName val="1"/>
            <c:showSerName val="0"/>
            <c:showPercent val="0"/>
            <c:showBubbleSize val="0"/>
            <c:separator> </c:separator>
            <c:showLeaderLines val="0"/>
          </c:dLbls>
          <c:cat>
            <c:strRef>
              <c:f>'Stages all'!$M$2:$M$9</c:f>
              <c:strCache>
                <c:ptCount val="8"/>
                <c:pt idx="0">
                  <c:v>Acute Admission</c:v>
                </c:pt>
                <c:pt idx="1">
                  <c:v>Antenatal</c:v>
                </c:pt>
                <c:pt idx="2">
                  <c:v>Community Addictions Teams</c:v>
                </c:pt>
                <c:pt idx="3">
                  <c:v>GP</c:v>
                </c:pt>
                <c:pt idx="4">
                  <c:v>Outpatients</c:v>
                </c:pt>
                <c:pt idx="5">
                  <c:v>Other Services</c:v>
                </c:pt>
                <c:pt idx="6">
                  <c:v>Prisons</c:v>
                </c:pt>
                <c:pt idx="7">
                  <c:v>Sandyford</c:v>
                </c:pt>
              </c:strCache>
            </c:strRef>
          </c:cat>
          <c:val>
            <c:numRef>
              <c:f>'Stages all'!$N$2:$N$9</c:f>
              <c:numCache>
                <c:formatCode>General</c:formatCode>
                <c:ptCount val="8"/>
                <c:pt idx="0">
                  <c:v>56</c:v>
                </c:pt>
                <c:pt idx="1">
                  <c:v>183</c:v>
                </c:pt>
                <c:pt idx="2">
                  <c:v>2</c:v>
                </c:pt>
                <c:pt idx="3">
                  <c:v>207</c:v>
                </c:pt>
                <c:pt idx="4">
                  <c:v>128</c:v>
                </c:pt>
                <c:pt idx="5">
                  <c:v>79</c:v>
                </c:pt>
                <c:pt idx="6">
                  <c:v>8</c:v>
                </c:pt>
                <c:pt idx="7">
                  <c:v>47</c:v>
                </c:pt>
              </c:numCache>
            </c:numRef>
          </c:val>
        </c:ser>
        <c:dLbls>
          <c:showLegendKey val="0"/>
          <c:showVal val="1"/>
          <c:showCatName val="0"/>
          <c:showSerName val="0"/>
          <c:showPercent val="0"/>
          <c:showBubbleSize val="0"/>
          <c:showLeaderLines val="0"/>
        </c:dLbls>
      </c:pie3DChart>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a:t>Ethnicity</a:t>
            </a:r>
          </a:p>
        </c:rich>
      </c:tx>
      <c:layout>
        <c:manualLayout>
          <c:xMode val="edge"/>
          <c:yMode val="edge"/>
          <c:x val="2.1992295081355601E-2"/>
          <c:y val="3.1578947368421123E-2"/>
        </c:manualLayout>
      </c:layout>
      <c:overlay val="0"/>
    </c:title>
    <c:autoTitleDeleted val="0"/>
    <c:view3D>
      <c:rotX val="60"/>
      <c:rotY val="0"/>
      <c:rAngAx val="0"/>
      <c:perspective val="30"/>
    </c:view3D>
    <c:floor>
      <c:thickness val="0"/>
    </c:floor>
    <c:sideWall>
      <c:thickness val="0"/>
    </c:sideWall>
    <c:backWall>
      <c:thickness val="0"/>
    </c:backWall>
    <c:plotArea>
      <c:layout/>
      <c:pie3DChart>
        <c:varyColors val="1"/>
        <c:ser>
          <c:idx val="0"/>
          <c:order val="0"/>
          <c:explosion val="25"/>
          <c:dLbls>
            <c:showLegendKey val="0"/>
            <c:showVal val="1"/>
            <c:showCatName val="1"/>
            <c:showSerName val="0"/>
            <c:showPercent val="0"/>
            <c:showBubbleSize val="0"/>
            <c:separator> </c:separator>
            <c:showLeaderLines val="1"/>
          </c:dLbls>
          <c:cat>
            <c:strRef>
              <c:f>Quarterly_Report_Q___Hep_B_Ethn!$P$3:$P$15</c:f>
              <c:strCache>
                <c:ptCount val="13"/>
                <c:pt idx="0">
                  <c:v>Chinese</c:v>
                </c:pt>
                <c:pt idx="1">
                  <c:v>Black African</c:v>
                </c:pt>
                <c:pt idx="2">
                  <c:v>Black Caribbean</c:v>
                </c:pt>
                <c:pt idx="3">
                  <c:v>Black Other</c:v>
                </c:pt>
                <c:pt idx="4">
                  <c:v>White Scottish</c:v>
                </c:pt>
                <c:pt idx="5">
                  <c:v>White Other</c:v>
                </c:pt>
                <c:pt idx="6">
                  <c:v>Pakistani</c:v>
                </c:pt>
                <c:pt idx="7">
                  <c:v>Asian</c:v>
                </c:pt>
                <c:pt idx="8">
                  <c:v>Indian</c:v>
                </c:pt>
                <c:pt idx="9">
                  <c:v>Arab</c:v>
                </c:pt>
                <c:pt idx="10">
                  <c:v>Mixed</c:v>
                </c:pt>
                <c:pt idx="11">
                  <c:v>Other</c:v>
                </c:pt>
                <c:pt idx="12">
                  <c:v>Not Known</c:v>
                </c:pt>
              </c:strCache>
            </c:strRef>
          </c:cat>
          <c:val>
            <c:numRef>
              <c:f>Quarterly_Report_Q___Hep_B_Ethn!$Q$3:$Q$15</c:f>
              <c:numCache>
                <c:formatCode>General</c:formatCode>
                <c:ptCount val="13"/>
                <c:pt idx="0">
                  <c:v>266</c:v>
                </c:pt>
                <c:pt idx="1">
                  <c:v>146</c:v>
                </c:pt>
                <c:pt idx="2">
                  <c:v>1</c:v>
                </c:pt>
                <c:pt idx="3">
                  <c:v>2</c:v>
                </c:pt>
                <c:pt idx="4">
                  <c:v>68</c:v>
                </c:pt>
                <c:pt idx="5">
                  <c:v>80</c:v>
                </c:pt>
                <c:pt idx="6">
                  <c:v>46</c:v>
                </c:pt>
                <c:pt idx="7">
                  <c:v>18</c:v>
                </c:pt>
                <c:pt idx="8">
                  <c:v>8</c:v>
                </c:pt>
                <c:pt idx="9">
                  <c:v>28</c:v>
                </c:pt>
                <c:pt idx="10">
                  <c:v>1</c:v>
                </c:pt>
                <c:pt idx="11">
                  <c:v>1</c:v>
                </c:pt>
                <c:pt idx="12">
                  <c:v>45</c:v>
                </c:pt>
              </c:numCache>
            </c:numRef>
          </c:val>
        </c:ser>
        <c:dLbls>
          <c:showLegendKey val="0"/>
          <c:showVal val="1"/>
          <c:showCatName val="0"/>
          <c:showSerName val="0"/>
          <c:showPercent val="0"/>
          <c:showBubbleSize val="0"/>
          <c:showLeaderLines val="1"/>
        </c:dLbls>
      </c:pie3DChart>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Sexuality</a:t>
            </a:r>
          </a:p>
        </c:rich>
      </c:tx>
      <c:layout>
        <c:manualLayout>
          <c:xMode val="edge"/>
          <c:yMode val="edge"/>
          <c:x val="7.9564316836083199E-2"/>
          <c:y val="3.2334370255156855E-2"/>
        </c:manualLayout>
      </c:layout>
      <c:overlay val="1"/>
    </c:title>
    <c:autoTitleDeleted val="0"/>
    <c:view3D>
      <c:rotX val="60"/>
      <c:rotY val="0"/>
      <c:rAngAx val="0"/>
      <c:perspective val="30"/>
    </c:view3D>
    <c:floor>
      <c:thickness val="0"/>
    </c:floor>
    <c:sideWall>
      <c:thickness val="0"/>
    </c:sideWall>
    <c:backWall>
      <c:thickness val="0"/>
    </c:backWall>
    <c:plotArea>
      <c:layout/>
      <c:pie3DChart>
        <c:varyColors val="1"/>
        <c:ser>
          <c:idx val="0"/>
          <c:order val="0"/>
          <c:explosion val="25"/>
          <c:dLbls>
            <c:dLbl>
              <c:idx val="2"/>
              <c:layout>
                <c:manualLayout>
                  <c:x val="-5.4397419072616101E-3"/>
                  <c:y val="-4.4717118693496746E-2"/>
                </c:manualLayout>
              </c:layout>
              <c:showLegendKey val="0"/>
              <c:showVal val="1"/>
              <c:showCatName val="1"/>
              <c:showSerName val="0"/>
              <c:showPercent val="0"/>
              <c:showBubbleSize val="0"/>
              <c:separator> </c:separator>
            </c:dLbl>
            <c:showLegendKey val="0"/>
            <c:showVal val="1"/>
            <c:showCatName val="1"/>
            <c:showSerName val="0"/>
            <c:showPercent val="0"/>
            <c:showBubbleSize val="0"/>
            <c:separator> </c:separator>
            <c:showLeaderLines val="0"/>
          </c:dLbls>
          <c:cat>
            <c:strRef>
              <c:f>'Index Sexuality'!$A$3:$A$6</c:f>
              <c:strCache>
                <c:ptCount val="4"/>
                <c:pt idx="0">
                  <c:v>Heterosexual</c:v>
                </c:pt>
                <c:pt idx="1">
                  <c:v>Gay</c:v>
                </c:pt>
                <c:pt idx="2">
                  <c:v>Bisexual</c:v>
                </c:pt>
                <c:pt idx="3">
                  <c:v>Not Known</c:v>
                </c:pt>
              </c:strCache>
            </c:strRef>
          </c:cat>
          <c:val>
            <c:numRef>
              <c:f>'Index Sexuality'!$B$3:$B$6</c:f>
              <c:numCache>
                <c:formatCode>General</c:formatCode>
                <c:ptCount val="4"/>
                <c:pt idx="0">
                  <c:v>546</c:v>
                </c:pt>
                <c:pt idx="1">
                  <c:v>6</c:v>
                </c:pt>
                <c:pt idx="2">
                  <c:v>4</c:v>
                </c:pt>
                <c:pt idx="3">
                  <c:v>154</c:v>
                </c:pt>
              </c:numCache>
            </c:numRef>
          </c:val>
        </c:ser>
        <c:dLbls>
          <c:showLegendKey val="0"/>
          <c:showVal val="1"/>
          <c:showCatName val="0"/>
          <c:showSerName val="0"/>
          <c:showPercent val="0"/>
          <c:showBubbleSize val="0"/>
          <c:showLeaderLines val="0"/>
        </c:dLbls>
      </c:pie3DChart>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a:t>Contact</a:t>
            </a:r>
            <a:r>
              <a:rPr lang="en-GB" baseline="0"/>
              <a:t> Outcomes</a:t>
            </a:r>
            <a:endParaRPr lang="en-GB"/>
          </a:p>
        </c:rich>
      </c:tx>
      <c:layout/>
      <c:overlay val="0"/>
    </c:title>
    <c:autoTitleDeleted val="0"/>
    <c:plotArea>
      <c:layout/>
      <c:barChart>
        <c:barDir val="col"/>
        <c:grouping val="clustered"/>
        <c:varyColors val="0"/>
        <c:ser>
          <c:idx val="0"/>
          <c:order val="0"/>
          <c:tx>
            <c:strRef>
              <c:f>Sheet1!$B$32</c:f>
              <c:strCache>
                <c:ptCount val="1"/>
                <c:pt idx="0">
                  <c:v>All</c:v>
                </c:pt>
              </c:strCache>
            </c:strRef>
          </c:tx>
          <c:invertIfNegative val="0"/>
          <c:dPt>
            <c:idx val="0"/>
            <c:invertIfNegative val="0"/>
            <c:bubble3D val="0"/>
            <c:spPr>
              <a:solidFill>
                <a:srgbClr val="7030A0"/>
              </a:solidFill>
            </c:spPr>
          </c:dPt>
          <c:dLbls>
            <c:showLegendKey val="0"/>
            <c:showVal val="1"/>
            <c:showCatName val="0"/>
            <c:showSerName val="0"/>
            <c:showPercent val="0"/>
            <c:showBubbleSize val="0"/>
            <c:showLeaderLines val="0"/>
          </c:dLbls>
          <c:cat>
            <c:strRef>
              <c:f>Sheet1!$A$33:$A$38</c:f>
              <c:strCache>
                <c:ptCount val="6"/>
                <c:pt idx="0">
                  <c:v>No. Hep B Cases</c:v>
                </c:pt>
                <c:pt idx="1">
                  <c:v>Total No. Contacts</c:v>
                </c:pt>
                <c:pt idx="2">
                  <c:v>Recorded Outcomes</c:v>
                </c:pt>
                <c:pt idx="3">
                  <c:v>Vaccinated</c:v>
                </c:pt>
                <c:pt idx="4">
                  <c:v>On-going HBV Infection</c:v>
                </c:pt>
                <c:pt idx="5">
                  <c:v>Immunity</c:v>
                </c:pt>
              </c:strCache>
            </c:strRef>
          </c:cat>
          <c:val>
            <c:numRef>
              <c:f>Sheet1!$B$33:$B$38</c:f>
              <c:numCache>
                <c:formatCode>General</c:formatCode>
                <c:ptCount val="6"/>
                <c:pt idx="0">
                  <c:v>710</c:v>
                </c:pt>
                <c:pt idx="1">
                  <c:v>1273</c:v>
                </c:pt>
                <c:pt idx="2">
                  <c:v>1007</c:v>
                </c:pt>
                <c:pt idx="3">
                  <c:v>656</c:v>
                </c:pt>
                <c:pt idx="4">
                  <c:v>191</c:v>
                </c:pt>
                <c:pt idx="5">
                  <c:v>114</c:v>
                </c:pt>
              </c:numCache>
            </c:numRef>
          </c:val>
        </c:ser>
        <c:ser>
          <c:idx val="1"/>
          <c:order val="1"/>
          <c:tx>
            <c:strRef>
              <c:f>Sheet1!$C$32</c:f>
              <c:strCache>
                <c:ptCount val="1"/>
                <c:pt idx="0">
                  <c:v>Verified</c:v>
                </c:pt>
              </c:strCache>
            </c:strRef>
          </c:tx>
          <c:invertIfNegative val="0"/>
          <c:dLbls>
            <c:dLbl>
              <c:idx val="0"/>
              <c:delete val="1"/>
            </c:dLbl>
            <c:dLbl>
              <c:idx val="1"/>
              <c:delete val="1"/>
            </c:dLbl>
            <c:dLbl>
              <c:idx val="2"/>
              <c:delete val="1"/>
            </c:dLbl>
            <c:showLegendKey val="0"/>
            <c:showVal val="1"/>
            <c:showCatName val="0"/>
            <c:showSerName val="0"/>
            <c:showPercent val="0"/>
            <c:showBubbleSize val="0"/>
            <c:showLeaderLines val="0"/>
          </c:dLbls>
          <c:cat>
            <c:strRef>
              <c:f>Sheet1!$A$33:$A$38</c:f>
              <c:strCache>
                <c:ptCount val="6"/>
                <c:pt idx="0">
                  <c:v>No. Hep B Cases</c:v>
                </c:pt>
                <c:pt idx="1">
                  <c:v>Total No. Contacts</c:v>
                </c:pt>
                <c:pt idx="2">
                  <c:v>Recorded Outcomes</c:v>
                </c:pt>
                <c:pt idx="3">
                  <c:v>Vaccinated</c:v>
                </c:pt>
                <c:pt idx="4">
                  <c:v>On-going HBV Infection</c:v>
                </c:pt>
                <c:pt idx="5">
                  <c:v>Immunity</c:v>
                </c:pt>
              </c:strCache>
            </c:strRef>
          </c:cat>
          <c:val>
            <c:numRef>
              <c:f>Sheet1!$C$33:$C$38</c:f>
              <c:numCache>
                <c:formatCode>General</c:formatCode>
                <c:ptCount val="6"/>
                <c:pt idx="0">
                  <c:v>0</c:v>
                </c:pt>
                <c:pt idx="1">
                  <c:v>0</c:v>
                </c:pt>
                <c:pt idx="2">
                  <c:v>0</c:v>
                </c:pt>
                <c:pt idx="3">
                  <c:v>535</c:v>
                </c:pt>
                <c:pt idx="4">
                  <c:v>180</c:v>
                </c:pt>
                <c:pt idx="5">
                  <c:v>101</c:v>
                </c:pt>
              </c:numCache>
            </c:numRef>
          </c:val>
        </c:ser>
        <c:dLbls>
          <c:showLegendKey val="0"/>
          <c:showVal val="0"/>
          <c:showCatName val="0"/>
          <c:showSerName val="0"/>
          <c:showPercent val="0"/>
          <c:showBubbleSize val="0"/>
        </c:dLbls>
        <c:gapWidth val="75"/>
        <c:overlap val="-25"/>
        <c:axId val="98591872"/>
        <c:axId val="98593408"/>
      </c:barChart>
      <c:catAx>
        <c:axId val="98591872"/>
        <c:scaling>
          <c:orientation val="minMax"/>
        </c:scaling>
        <c:delete val="0"/>
        <c:axPos val="b"/>
        <c:majorTickMark val="none"/>
        <c:minorTickMark val="none"/>
        <c:tickLblPos val="nextTo"/>
        <c:crossAx val="98593408"/>
        <c:crosses val="autoZero"/>
        <c:auto val="1"/>
        <c:lblAlgn val="ctr"/>
        <c:lblOffset val="100"/>
        <c:noMultiLvlLbl val="0"/>
      </c:catAx>
      <c:valAx>
        <c:axId val="98593408"/>
        <c:scaling>
          <c:orientation val="minMax"/>
        </c:scaling>
        <c:delete val="0"/>
        <c:axPos val="l"/>
        <c:majorGridlines/>
        <c:numFmt formatCode="General" sourceLinked="1"/>
        <c:majorTickMark val="none"/>
        <c:minorTickMark val="none"/>
        <c:tickLblPos val="nextTo"/>
        <c:spPr>
          <a:ln w="9525">
            <a:noFill/>
          </a:ln>
        </c:spPr>
        <c:crossAx val="98591872"/>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Types of Contacts</a:t>
            </a:r>
          </a:p>
        </c:rich>
      </c:tx>
      <c:layout>
        <c:manualLayout>
          <c:xMode val="edge"/>
          <c:yMode val="edge"/>
          <c:x val="0.38987945783801853"/>
          <c:y val="6.5764820857946299E-2"/>
        </c:manualLayout>
      </c:layout>
      <c:overlay val="1"/>
    </c:title>
    <c:autoTitleDeleted val="0"/>
    <c:plotArea>
      <c:layout/>
      <c:barChart>
        <c:barDir val="col"/>
        <c:grouping val="clustered"/>
        <c:varyColors val="0"/>
        <c:ser>
          <c:idx val="0"/>
          <c:order val="0"/>
          <c:invertIfNegative val="0"/>
          <c:dLbls>
            <c:dLblPos val="ctr"/>
            <c:showLegendKey val="0"/>
            <c:showVal val="1"/>
            <c:showCatName val="0"/>
            <c:showSerName val="0"/>
            <c:showPercent val="0"/>
            <c:showBubbleSize val="0"/>
            <c:showLeaderLines val="0"/>
          </c:dLbls>
          <c:cat>
            <c:strRef>
              <c:f>'Contact Types'!$A$3:$A$9</c:f>
              <c:strCache>
                <c:ptCount val="7"/>
                <c:pt idx="0">
                  <c:v>Children</c:v>
                </c:pt>
                <c:pt idx="1">
                  <c:v>Sexual Partners</c:v>
                </c:pt>
                <c:pt idx="2">
                  <c:v>Other Family</c:v>
                </c:pt>
                <c:pt idx="3">
                  <c:v>Other Household</c:v>
                </c:pt>
                <c:pt idx="4">
                  <c:v>Not Recorded</c:v>
                </c:pt>
                <c:pt idx="5">
                  <c:v>Not Known</c:v>
                </c:pt>
                <c:pt idx="6">
                  <c:v>Injecting Contact</c:v>
                </c:pt>
              </c:strCache>
            </c:strRef>
          </c:cat>
          <c:val>
            <c:numRef>
              <c:f>'Contact Types'!$B$3:$B$9</c:f>
              <c:numCache>
                <c:formatCode>General</c:formatCode>
                <c:ptCount val="7"/>
                <c:pt idx="0">
                  <c:v>512</c:v>
                </c:pt>
                <c:pt idx="1">
                  <c:v>430</c:v>
                </c:pt>
                <c:pt idx="2">
                  <c:v>252</c:v>
                </c:pt>
                <c:pt idx="3">
                  <c:v>48</c:v>
                </c:pt>
                <c:pt idx="4">
                  <c:v>21</c:v>
                </c:pt>
                <c:pt idx="5">
                  <c:v>8</c:v>
                </c:pt>
                <c:pt idx="6">
                  <c:v>2</c:v>
                </c:pt>
              </c:numCache>
            </c:numRef>
          </c:val>
        </c:ser>
        <c:dLbls>
          <c:showLegendKey val="0"/>
          <c:showVal val="1"/>
          <c:showCatName val="0"/>
          <c:showSerName val="0"/>
          <c:showPercent val="0"/>
          <c:showBubbleSize val="0"/>
        </c:dLbls>
        <c:gapWidth val="150"/>
        <c:axId val="98618752"/>
        <c:axId val="99178752"/>
      </c:barChart>
      <c:catAx>
        <c:axId val="98618752"/>
        <c:scaling>
          <c:orientation val="minMax"/>
        </c:scaling>
        <c:delete val="0"/>
        <c:axPos val="b"/>
        <c:majorTickMark val="out"/>
        <c:minorTickMark val="none"/>
        <c:tickLblPos val="nextTo"/>
        <c:crossAx val="99178752"/>
        <c:crosses val="autoZero"/>
        <c:auto val="1"/>
        <c:lblAlgn val="ctr"/>
        <c:lblOffset val="100"/>
        <c:noMultiLvlLbl val="0"/>
      </c:catAx>
      <c:valAx>
        <c:axId val="99178752"/>
        <c:scaling>
          <c:orientation val="minMax"/>
        </c:scaling>
        <c:delete val="0"/>
        <c:axPos val="l"/>
        <c:majorGridlines/>
        <c:numFmt formatCode="General" sourceLinked="1"/>
        <c:majorTickMark val="out"/>
        <c:minorTickMark val="none"/>
        <c:tickLblPos val="nextTo"/>
        <c:crossAx val="98618752"/>
        <c:crosses val="autoZero"/>
        <c:crossBetween val="between"/>
      </c:valAx>
    </c:plotArea>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Child</a:t>
            </a:r>
            <a:r>
              <a:rPr lang="en-GB" baseline="0" dirty="0"/>
              <a:t> </a:t>
            </a:r>
            <a:r>
              <a:rPr lang="en-GB" baseline="0" dirty="0" smtClean="0"/>
              <a:t>Outcomes (Of 512)</a:t>
            </a:r>
            <a:endParaRPr lang="en-GB" dirty="0"/>
          </a:p>
        </c:rich>
      </c:tx>
      <c:layout/>
      <c:overlay val="0"/>
    </c:title>
    <c:autoTitleDeleted val="0"/>
    <c:plotArea>
      <c:layout/>
      <c:barChart>
        <c:barDir val="col"/>
        <c:grouping val="clustered"/>
        <c:varyColors val="0"/>
        <c:ser>
          <c:idx val="0"/>
          <c:order val="0"/>
          <c:tx>
            <c:strRef>
              <c:f>'Child and sexual outcomes'!$B$2</c:f>
              <c:strCache>
                <c:ptCount val="1"/>
                <c:pt idx="0">
                  <c:v>All</c:v>
                </c:pt>
              </c:strCache>
            </c:strRef>
          </c:tx>
          <c:invertIfNegative val="0"/>
          <c:dLbls>
            <c:dLblPos val="ctr"/>
            <c:showLegendKey val="0"/>
            <c:showVal val="1"/>
            <c:showCatName val="0"/>
            <c:showSerName val="0"/>
            <c:showPercent val="0"/>
            <c:showBubbleSize val="0"/>
            <c:showLeaderLines val="0"/>
          </c:dLbls>
          <c:cat>
            <c:strRef>
              <c:f>'Child and sexual outcomes'!$A$3:$A$8</c:f>
              <c:strCache>
                <c:ptCount val="6"/>
                <c:pt idx="0">
                  <c:v>Vaccinated</c:v>
                </c:pt>
                <c:pt idx="1">
                  <c:v>Immune</c:v>
                </c:pt>
                <c:pt idx="2">
                  <c:v>On-going Infection</c:v>
                </c:pt>
                <c:pt idx="3">
                  <c:v>Not Vaccinated</c:v>
                </c:pt>
                <c:pt idx="4">
                  <c:v>Not Known</c:v>
                </c:pt>
                <c:pt idx="5">
                  <c:v>Refused to attend</c:v>
                </c:pt>
              </c:strCache>
            </c:strRef>
          </c:cat>
          <c:val>
            <c:numRef>
              <c:f>'Child and sexual outcomes'!$B$3:$B$8</c:f>
              <c:numCache>
                <c:formatCode>General</c:formatCode>
                <c:ptCount val="6"/>
                <c:pt idx="0">
                  <c:v>401</c:v>
                </c:pt>
                <c:pt idx="1">
                  <c:v>17</c:v>
                </c:pt>
                <c:pt idx="2">
                  <c:v>26</c:v>
                </c:pt>
                <c:pt idx="3">
                  <c:v>9</c:v>
                </c:pt>
                <c:pt idx="4">
                  <c:v>58</c:v>
                </c:pt>
                <c:pt idx="5">
                  <c:v>1</c:v>
                </c:pt>
              </c:numCache>
            </c:numRef>
          </c:val>
        </c:ser>
        <c:ser>
          <c:idx val="1"/>
          <c:order val="1"/>
          <c:tx>
            <c:strRef>
              <c:f>'Child and sexual outcomes'!$C$2</c:f>
              <c:strCache>
                <c:ptCount val="1"/>
                <c:pt idx="0">
                  <c:v>Verified</c:v>
                </c:pt>
              </c:strCache>
            </c:strRef>
          </c:tx>
          <c:invertIfNegative val="0"/>
          <c:dLbls>
            <c:dLblPos val="ctr"/>
            <c:showLegendKey val="0"/>
            <c:showVal val="1"/>
            <c:showCatName val="0"/>
            <c:showSerName val="0"/>
            <c:showPercent val="0"/>
            <c:showBubbleSize val="0"/>
            <c:showLeaderLines val="0"/>
          </c:dLbls>
          <c:cat>
            <c:strRef>
              <c:f>'Child and sexual outcomes'!$A$3:$A$8</c:f>
              <c:strCache>
                <c:ptCount val="6"/>
                <c:pt idx="0">
                  <c:v>Vaccinated</c:v>
                </c:pt>
                <c:pt idx="1">
                  <c:v>Immune</c:v>
                </c:pt>
                <c:pt idx="2">
                  <c:v>On-going Infection</c:v>
                </c:pt>
                <c:pt idx="3">
                  <c:v>Not Vaccinated</c:v>
                </c:pt>
                <c:pt idx="4">
                  <c:v>Not Known</c:v>
                </c:pt>
                <c:pt idx="5">
                  <c:v>Refused to attend</c:v>
                </c:pt>
              </c:strCache>
            </c:strRef>
          </c:cat>
          <c:val>
            <c:numRef>
              <c:f>'Child and sexual outcomes'!$C$3:$C$8</c:f>
              <c:numCache>
                <c:formatCode>General</c:formatCode>
                <c:ptCount val="6"/>
                <c:pt idx="0">
                  <c:v>326</c:v>
                </c:pt>
                <c:pt idx="1">
                  <c:v>17</c:v>
                </c:pt>
                <c:pt idx="2">
                  <c:v>26</c:v>
                </c:pt>
                <c:pt idx="3">
                  <c:v>3</c:v>
                </c:pt>
                <c:pt idx="4">
                  <c:v>0</c:v>
                </c:pt>
                <c:pt idx="5">
                  <c:v>1</c:v>
                </c:pt>
              </c:numCache>
            </c:numRef>
          </c:val>
        </c:ser>
        <c:dLbls>
          <c:showLegendKey val="0"/>
          <c:showVal val="1"/>
          <c:showCatName val="0"/>
          <c:showSerName val="0"/>
          <c:showPercent val="0"/>
          <c:showBubbleSize val="0"/>
        </c:dLbls>
        <c:gapWidth val="75"/>
        <c:overlap val="-25"/>
        <c:axId val="99196928"/>
        <c:axId val="99198464"/>
      </c:barChart>
      <c:catAx>
        <c:axId val="99196928"/>
        <c:scaling>
          <c:orientation val="minMax"/>
        </c:scaling>
        <c:delete val="0"/>
        <c:axPos val="b"/>
        <c:majorTickMark val="none"/>
        <c:minorTickMark val="none"/>
        <c:tickLblPos val="nextTo"/>
        <c:crossAx val="99198464"/>
        <c:crosses val="autoZero"/>
        <c:auto val="1"/>
        <c:lblAlgn val="ctr"/>
        <c:lblOffset val="100"/>
        <c:noMultiLvlLbl val="0"/>
      </c:catAx>
      <c:valAx>
        <c:axId val="99198464"/>
        <c:scaling>
          <c:orientation val="minMax"/>
        </c:scaling>
        <c:delete val="0"/>
        <c:axPos val="l"/>
        <c:majorGridlines/>
        <c:numFmt formatCode="General" sourceLinked="1"/>
        <c:majorTickMark val="none"/>
        <c:minorTickMark val="none"/>
        <c:tickLblPos val="nextTo"/>
        <c:spPr>
          <a:ln w="9525">
            <a:noFill/>
          </a:ln>
        </c:spPr>
        <c:crossAx val="99196928"/>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Sexual</a:t>
            </a:r>
            <a:r>
              <a:rPr lang="en-GB" baseline="0" dirty="0"/>
              <a:t> </a:t>
            </a:r>
            <a:r>
              <a:rPr lang="en-GB" baseline="0" dirty="0" smtClean="0"/>
              <a:t>Contact Outcomes (Of 430)</a:t>
            </a:r>
            <a:endParaRPr lang="en-GB" dirty="0"/>
          </a:p>
        </c:rich>
      </c:tx>
      <c:layout/>
      <c:overlay val="0"/>
    </c:title>
    <c:autoTitleDeleted val="0"/>
    <c:plotArea>
      <c:layout/>
      <c:barChart>
        <c:barDir val="col"/>
        <c:grouping val="clustered"/>
        <c:varyColors val="0"/>
        <c:ser>
          <c:idx val="0"/>
          <c:order val="0"/>
          <c:tx>
            <c:strRef>
              <c:f>'Child and sexual outcomes'!$B$29</c:f>
              <c:strCache>
                <c:ptCount val="1"/>
                <c:pt idx="0">
                  <c:v>All</c:v>
                </c:pt>
              </c:strCache>
            </c:strRef>
          </c:tx>
          <c:invertIfNegative val="0"/>
          <c:dLbls>
            <c:dLblPos val="ctr"/>
            <c:showLegendKey val="0"/>
            <c:showVal val="1"/>
            <c:showCatName val="0"/>
            <c:showSerName val="0"/>
            <c:showPercent val="0"/>
            <c:showBubbleSize val="0"/>
            <c:showLeaderLines val="0"/>
          </c:dLbls>
          <c:cat>
            <c:strRef>
              <c:f>'Child and sexual outcomes'!$A$30:$A$35</c:f>
              <c:strCache>
                <c:ptCount val="6"/>
                <c:pt idx="0">
                  <c:v>Vaccinated</c:v>
                </c:pt>
                <c:pt idx="1">
                  <c:v>On-going Infection</c:v>
                </c:pt>
                <c:pt idx="2">
                  <c:v>Immune</c:v>
                </c:pt>
                <c:pt idx="3">
                  <c:v>Not Vaccinated</c:v>
                </c:pt>
                <c:pt idx="4">
                  <c:v>Refused to attend</c:v>
                </c:pt>
                <c:pt idx="5">
                  <c:v>Not Known</c:v>
                </c:pt>
              </c:strCache>
            </c:strRef>
          </c:cat>
          <c:val>
            <c:numRef>
              <c:f>'Child and sexual outcomes'!$B$30:$B$35</c:f>
              <c:numCache>
                <c:formatCode>General</c:formatCode>
                <c:ptCount val="6"/>
                <c:pt idx="0">
                  <c:v>142</c:v>
                </c:pt>
                <c:pt idx="1">
                  <c:v>79</c:v>
                </c:pt>
                <c:pt idx="2">
                  <c:v>66</c:v>
                </c:pt>
                <c:pt idx="3">
                  <c:v>16</c:v>
                </c:pt>
                <c:pt idx="4">
                  <c:v>3</c:v>
                </c:pt>
                <c:pt idx="5">
                  <c:v>124</c:v>
                </c:pt>
              </c:numCache>
            </c:numRef>
          </c:val>
        </c:ser>
        <c:ser>
          <c:idx val="1"/>
          <c:order val="1"/>
          <c:tx>
            <c:strRef>
              <c:f>'Child and sexual outcomes'!$C$29</c:f>
              <c:strCache>
                <c:ptCount val="1"/>
                <c:pt idx="0">
                  <c:v>Verified</c:v>
                </c:pt>
              </c:strCache>
            </c:strRef>
          </c:tx>
          <c:invertIfNegative val="0"/>
          <c:dLbls>
            <c:dLblPos val="ctr"/>
            <c:showLegendKey val="0"/>
            <c:showVal val="1"/>
            <c:showCatName val="0"/>
            <c:showSerName val="0"/>
            <c:showPercent val="0"/>
            <c:showBubbleSize val="0"/>
            <c:showLeaderLines val="0"/>
          </c:dLbls>
          <c:cat>
            <c:strRef>
              <c:f>'Child and sexual outcomes'!$A$30:$A$35</c:f>
              <c:strCache>
                <c:ptCount val="6"/>
                <c:pt idx="0">
                  <c:v>Vaccinated</c:v>
                </c:pt>
                <c:pt idx="1">
                  <c:v>On-going Infection</c:v>
                </c:pt>
                <c:pt idx="2">
                  <c:v>Immune</c:v>
                </c:pt>
                <c:pt idx="3">
                  <c:v>Not Vaccinated</c:v>
                </c:pt>
                <c:pt idx="4">
                  <c:v>Refused to attend</c:v>
                </c:pt>
                <c:pt idx="5">
                  <c:v>Not Known</c:v>
                </c:pt>
              </c:strCache>
            </c:strRef>
          </c:cat>
          <c:val>
            <c:numRef>
              <c:f>'Child and sexual outcomes'!$C$30:$C$35</c:f>
              <c:numCache>
                <c:formatCode>General</c:formatCode>
                <c:ptCount val="6"/>
                <c:pt idx="0">
                  <c:v>106</c:v>
                </c:pt>
                <c:pt idx="1">
                  <c:v>71</c:v>
                </c:pt>
                <c:pt idx="2">
                  <c:v>54</c:v>
                </c:pt>
                <c:pt idx="3">
                  <c:v>8</c:v>
                </c:pt>
                <c:pt idx="4">
                  <c:v>0</c:v>
                </c:pt>
                <c:pt idx="5">
                  <c:v>0</c:v>
                </c:pt>
              </c:numCache>
            </c:numRef>
          </c:val>
        </c:ser>
        <c:dLbls>
          <c:showLegendKey val="0"/>
          <c:showVal val="1"/>
          <c:showCatName val="0"/>
          <c:showSerName val="0"/>
          <c:showPercent val="0"/>
          <c:showBubbleSize val="0"/>
        </c:dLbls>
        <c:gapWidth val="75"/>
        <c:overlap val="-25"/>
        <c:axId val="98943744"/>
        <c:axId val="98945280"/>
      </c:barChart>
      <c:catAx>
        <c:axId val="98943744"/>
        <c:scaling>
          <c:orientation val="minMax"/>
        </c:scaling>
        <c:delete val="0"/>
        <c:axPos val="b"/>
        <c:majorTickMark val="none"/>
        <c:minorTickMark val="none"/>
        <c:tickLblPos val="nextTo"/>
        <c:crossAx val="98945280"/>
        <c:crosses val="autoZero"/>
        <c:auto val="1"/>
        <c:lblAlgn val="ctr"/>
        <c:lblOffset val="100"/>
        <c:noMultiLvlLbl val="0"/>
      </c:catAx>
      <c:valAx>
        <c:axId val="98945280"/>
        <c:scaling>
          <c:orientation val="minMax"/>
        </c:scaling>
        <c:delete val="0"/>
        <c:axPos val="l"/>
        <c:majorGridlines/>
        <c:numFmt formatCode="General" sourceLinked="1"/>
        <c:majorTickMark val="none"/>
        <c:minorTickMark val="none"/>
        <c:tickLblPos val="nextTo"/>
        <c:spPr>
          <a:ln w="9525">
            <a:noFill/>
          </a:ln>
        </c:spPr>
        <c:crossAx val="98943744"/>
        <c:crosses val="autoZero"/>
        <c:crossBetween val="between"/>
      </c:valAx>
    </c:plotArea>
    <c:legend>
      <c:legendPos val="b"/>
      <c:layout/>
      <c:overlay val="0"/>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1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4">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15">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16">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17">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18">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19">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20">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C66087-5376-4B93-97E5-DAA40047C370}" type="doc">
      <dgm:prSet loTypeId="urn:microsoft.com/office/officeart/2005/8/layout/process1" loCatId="process" qsTypeId="urn:microsoft.com/office/officeart/2005/8/quickstyle/simple1#11" qsCatId="simple" csTypeId="urn:microsoft.com/office/officeart/2005/8/colors/accent1_2#11" csCatId="accent1"/>
      <dgm:spPr/>
      <dgm:t>
        <a:bodyPr/>
        <a:lstStyle/>
        <a:p>
          <a:endParaRPr lang="en-GB"/>
        </a:p>
      </dgm:t>
    </dgm:pt>
    <dgm:pt modelId="{E22280CF-05D4-432F-BE26-2ABB7B7947ED}">
      <dgm:prSet/>
      <dgm:spPr/>
      <dgm:t>
        <a:bodyPr/>
        <a:lstStyle/>
        <a:p>
          <a:pPr rtl="0"/>
          <a:r>
            <a:rPr lang="en-US" dirty="0" smtClean="0"/>
            <a:t>Partnership working to achieve successful Health Board-Wide Hepatitis B Partner Notification Outcomes</a:t>
          </a:r>
          <a:endParaRPr lang="en-GB" dirty="0"/>
        </a:p>
      </dgm:t>
    </dgm:pt>
    <dgm:pt modelId="{A4F707EF-2EBB-4522-A43D-938ECD3298BC}" type="parTrans" cxnId="{4B799959-BC36-4C67-956B-9FA056F4BA3E}">
      <dgm:prSet/>
      <dgm:spPr/>
      <dgm:t>
        <a:bodyPr/>
        <a:lstStyle/>
        <a:p>
          <a:endParaRPr lang="en-GB"/>
        </a:p>
      </dgm:t>
    </dgm:pt>
    <dgm:pt modelId="{27F6C510-BE96-4A61-B7DB-292E53407F4F}" type="sibTrans" cxnId="{4B799959-BC36-4C67-956B-9FA056F4BA3E}">
      <dgm:prSet/>
      <dgm:spPr/>
      <dgm:t>
        <a:bodyPr/>
        <a:lstStyle/>
        <a:p>
          <a:endParaRPr lang="en-GB"/>
        </a:p>
      </dgm:t>
    </dgm:pt>
    <dgm:pt modelId="{B3718E99-9ECD-490D-9FDB-47C17A8196B1}" type="pres">
      <dgm:prSet presAssocID="{52C66087-5376-4B93-97E5-DAA40047C370}" presName="Name0" presStyleCnt="0">
        <dgm:presLayoutVars>
          <dgm:dir/>
          <dgm:resizeHandles val="exact"/>
        </dgm:presLayoutVars>
      </dgm:prSet>
      <dgm:spPr/>
      <dgm:t>
        <a:bodyPr/>
        <a:lstStyle/>
        <a:p>
          <a:endParaRPr lang="en-GB"/>
        </a:p>
      </dgm:t>
    </dgm:pt>
    <dgm:pt modelId="{88E9D083-BBDC-4E38-A1F0-CC23756B42E2}" type="pres">
      <dgm:prSet presAssocID="{E22280CF-05D4-432F-BE26-2ABB7B7947ED}" presName="node" presStyleLbl="node1" presStyleIdx="0" presStyleCnt="1">
        <dgm:presLayoutVars>
          <dgm:bulletEnabled val="1"/>
        </dgm:presLayoutVars>
      </dgm:prSet>
      <dgm:spPr/>
      <dgm:t>
        <a:bodyPr/>
        <a:lstStyle/>
        <a:p>
          <a:endParaRPr lang="en-GB"/>
        </a:p>
      </dgm:t>
    </dgm:pt>
  </dgm:ptLst>
  <dgm:cxnLst>
    <dgm:cxn modelId="{D998387C-48D5-4258-8D40-D5999FBF94D1}" type="presOf" srcId="{52C66087-5376-4B93-97E5-DAA40047C370}" destId="{B3718E99-9ECD-490D-9FDB-47C17A8196B1}" srcOrd="0" destOrd="0" presId="urn:microsoft.com/office/officeart/2005/8/layout/process1"/>
    <dgm:cxn modelId="{4B799959-BC36-4C67-956B-9FA056F4BA3E}" srcId="{52C66087-5376-4B93-97E5-DAA40047C370}" destId="{E22280CF-05D4-432F-BE26-2ABB7B7947ED}" srcOrd="0" destOrd="0" parTransId="{A4F707EF-2EBB-4522-A43D-938ECD3298BC}" sibTransId="{27F6C510-BE96-4A61-B7DB-292E53407F4F}"/>
    <dgm:cxn modelId="{98F277EE-BAF1-4576-9AE3-4479119D6AE7}" type="presOf" srcId="{E22280CF-05D4-432F-BE26-2ABB7B7947ED}" destId="{88E9D083-BBDC-4E38-A1F0-CC23756B42E2}" srcOrd="0" destOrd="0" presId="urn:microsoft.com/office/officeart/2005/8/layout/process1"/>
    <dgm:cxn modelId="{CD1A62C4-9F11-4609-8E77-EB104BF1BA56}" type="presParOf" srcId="{B3718E99-9ECD-490D-9FDB-47C17A8196B1}" destId="{88E9D083-BBDC-4E38-A1F0-CC23756B42E2}"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1DCD112-5EED-4F51-A118-3F435531A9AC}" type="doc">
      <dgm:prSet loTypeId="urn:microsoft.com/office/officeart/2005/8/layout/process4" loCatId="process" qsTypeId="urn:microsoft.com/office/officeart/2005/8/quickstyle/simple1#13" qsCatId="simple" csTypeId="urn:microsoft.com/office/officeart/2005/8/colors/accent1_2#13" csCatId="accent1" phldr="1"/>
      <dgm:spPr/>
      <dgm:t>
        <a:bodyPr/>
        <a:lstStyle/>
        <a:p>
          <a:endParaRPr lang="en-GB"/>
        </a:p>
      </dgm:t>
    </dgm:pt>
    <dgm:pt modelId="{5C6F335B-329C-434C-8740-857A6477911E}">
      <dgm:prSet>
        <dgm:style>
          <a:lnRef idx="2">
            <a:schemeClr val="accent5"/>
          </a:lnRef>
          <a:fillRef idx="1">
            <a:schemeClr val="lt1"/>
          </a:fillRef>
          <a:effectRef idx="0">
            <a:schemeClr val="accent5"/>
          </a:effectRef>
          <a:fontRef idx="minor">
            <a:schemeClr val="dk1"/>
          </a:fontRef>
        </dgm:style>
      </dgm:prSet>
      <dgm:spPr/>
      <dgm:t>
        <a:bodyPr/>
        <a:lstStyle/>
        <a:p>
          <a:pPr rtl="0"/>
          <a:r>
            <a:rPr lang="en-GB" dirty="0" smtClean="0"/>
            <a:t>Lab sends copies of positive HBV </a:t>
          </a:r>
          <a:r>
            <a:rPr lang="en-GB" dirty="0" err="1" smtClean="0"/>
            <a:t>sAg</a:t>
          </a:r>
          <a:r>
            <a:rPr lang="en-GB" dirty="0" smtClean="0"/>
            <a:t> results to SCSS</a:t>
          </a:r>
          <a:endParaRPr lang="en-GB" dirty="0"/>
        </a:p>
      </dgm:t>
    </dgm:pt>
    <dgm:pt modelId="{8D97DC2F-85E9-418C-A1DE-A71C32F8E838}" type="parTrans" cxnId="{58F8583F-8198-4A91-A9ED-59D1A1238C64}">
      <dgm:prSet/>
      <dgm:spPr/>
      <dgm:t>
        <a:bodyPr/>
        <a:lstStyle/>
        <a:p>
          <a:endParaRPr lang="en-GB"/>
        </a:p>
      </dgm:t>
    </dgm:pt>
    <dgm:pt modelId="{5AD0AB12-6576-4D14-9315-A895F99DDFB0}" type="sibTrans" cxnId="{58F8583F-8198-4A91-A9ED-59D1A1238C64}">
      <dgm:prSet/>
      <dgm:spPr/>
      <dgm:t>
        <a:bodyPr/>
        <a:lstStyle/>
        <a:p>
          <a:endParaRPr lang="en-GB"/>
        </a:p>
      </dgm:t>
    </dgm:pt>
    <dgm:pt modelId="{55CE6F24-B7B9-49BC-A1A4-981A0A3978C8}">
      <dgm:prSet>
        <dgm:style>
          <a:lnRef idx="2">
            <a:schemeClr val="accent5"/>
          </a:lnRef>
          <a:fillRef idx="1">
            <a:schemeClr val="lt1"/>
          </a:fillRef>
          <a:effectRef idx="0">
            <a:schemeClr val="accent5"/>
          </a:effectRef>
          <a:fontRef idx="minor">
            <a:schemeClr val="dk1"/>
          </a:fontRef>
        </dgm:style>
      </dgm:prSet>
      <dgm:spPr/>
      <dgm:t>
        <a:bodyPr/>
        <a:lstStyle/>
        <a:p>
          <a:pPr rtl="0"/>
          <a:r>
            <a:rPr lang="en-GB" dirty="0" smtClean="0"/>
            <a:t>SCSS SHAs contact testing clinician to offer help and support</a:t>
          </a:r>
          <a:endParaRPr lang="en-GB" dirty="0"/>
        </a:p>
      </dgm:t>
    </dgm:pt>
    <dgm:pt modelId="{D2D3EE5F-1CC3-4274-BDA3-0B720DF639B5}" type="parTrans" cxnId="{A379DE84-6D3F-49E3-939C-6248A1A48768}">
      <dgm:prSet/>
      <dgm:spPr/>
      <dgm:t>
        <a:bodyPr/>
        <a:lstStyle/>
        <a:p>
          <a:endParaRPr lang="en-GB"/>
        </a:p>
      </dgm:t>
    </dgm:pt>
    <dgm:pt modelId="{5432AB7E-45A6-424B-9413-926449C8DF67}" type="sibTrans" cxnId="{A379DE84-6D3F-49E3-939C-6248A1A48768}">
      <dgm:prSet/>
      <dgm:spPr/>
      <dgm:t>
        <a:bodyPr/>
        <a:lstStyle/>
        <a:p>
          <a:endParaRPr lang="en-GB"/>
        </a:p>
      </dgm:t>
    </dgm:pt>
    <dgm:pt modelId="{3F11142D-8171-4EBE-97EC-FE0AEB92904E}">
      <dgm:prSet>
        <dgm:style>
          <a:lnRef idx="2">
            <a:schemeClr val="accent5"/>
          </a:lnRef>
          <a:fillRef idx="1">
            <a:schemeClr val="lt1"/>
          </a:fillRef>
          <a:effectRef idx="0">
            <a:schemeClr val="accent5"/>
          </a:effectRef>
          <a:fontRef idx="minor">
            <a:schemeClr val="dk1"/>
          </a:fontRef>
        </dgm:style>
      </dgm:prSet>
      <dgm:spPr/>
      <dgm:t>
        <a:bodyPr/>
        <a:lstStyle/>
        <a:p>
          <a:pPr rtl="0"/>
          <a:r>
            <a:rPr lang="en-GB" dirty="0" smtClean="0"/>
            <a:t>Flexible response dictated by testing service preferences and requirements</a:t>
          </a:r>
          <a:endParaRPr lang="en-GB" dirty="0"/>
        </a:p>
      </dgm:t>
    </dgm:pt>
    <dgm:pt modelId="{97A2A3DD-2208-4D8E-A6EC-A8CAECF440A4}" type="parTrans" cxnId="{5B7E53C1-6135-44C1-B0C5-ACD0583AFF90}">
      <dgm:prSet/>
      <dgm:spPr/>
      <dgm:t>
        <a:bodyPr/>
        <a:lstStyle/>
        <a:p>
          <a:endParaRPr lang="en-GB"/>
        </a:p>
      </dgm:t>
    </dgm:pt>
    <dgm:pt modelId="{E991FC3C-3FED-435B-A50E-1311F0918962}" type="sibTrans" cxnId="{5B7E53C1-6135-44C1-B0C5-ACD0583AFF90}">
      <dgm:prSet/>
      <dgm:spPr/>
      <dgm:t>
        <a:bodyPr/>
        <a:lstStyle/>
        <a:p>
          <a:endParaRPr lang="en-GB"/>
        </a:p>
      </dgm:t>
    </dgm:pt>
    <dgm:pt modelId="{FDEA4947-3CF2-4662-8DA6-1B76D652F33F}">
      <dgm:prSet>
        <dgm:style>
          <a:lnRef idx="2">
            <a:schemeClr val="accent5"/>
          </a:lnRef>
          <a:fillRef idx="1">
            <a:schemeClr val="lt1"/>
          </a:fillRef>
          <a:effectRef idx="0">
            <a:schemeClr val="accent5"/>
          </a:effectRef>
          <a:fontRef idx="minor">
            <a:schemeClr val="dk1"/>
          </a:fontRef>
        </dgm:style>
      </dgm:prSet>
      <dgm:spPr/>
      <dgm:t>
        <a:bodyPr/>
        <a:lstStyle/>
        <a:p>
          <a:pPr rtl="0"/>
          <a:r>
            <a:rPr lang="en-GB" dirty="0" smtClean="0"/>
            <a:t>Ensuring adherence to local and national protocols, policies and guidelines</a:t>
          </a:r>
          <a:endParaRPr lang="en-GB" dirty="0"/>
        </a:p>
      </dgm:t>
    </dgm:pt>
    <dgm:pt modelId="{41530E47-B26D-40EF-9A08-88AF6BE9D6A0}" type="parTrans" cxnId="{FEF75A07-A28E-4CD7-BA05-0712EFDF5164}">
      <dgm:prSet/>
      <dgm:spPr/>
      <dgm:t>
        <a:bodyPr/>
        <a:lstStyle/>
        <a:p>
          <a:endParaRPr lang="en-GB"/>
        </a:p>
      </dgm:t>
    </dgm:pt>
    <dgm:pt modelId="{530BAF33-080C-4A0B-92BE-9FEA18BEA741}" type="sibTrans" cxnId="{FEF75A07-A28E-4CD7-BA05-0712EFDF5164}">
      <dgm:prSet/>
      <dgm:spPr/>
      <dgm:t>
        <a:bodyPr/>
        <a:lstStyle/>
        <a:p>
          <a:endParaRPr lang="en-GB"/>
        </a:p>
      </dgm:t>
    </dgm:pt>
    <dgm:pt modelId="{C6E30489-2626-4FE8-A644-7ED098A6B7E1}" type="pres">
      <dgm:prSet presAssocID="{D1DCD112-5EED-4F51-A118-3F435531A9AC}" presName="Name0" presStyleCnt="0">
        <dgm:presLayoutVars>
          <dgm:dir/>
          <dgm:animLvl val="lvl"/>
          <dgm:resizeHandles val="exact"/>
        </dgm:presLayoutVars>
      </dgm:prSet>
      <dgm:spPr/>
      <dgm:t>
        <a:bodyPr/>
        <a:lstStyle/>
        <a:p>
          <a:endParaRPr lang="en-GB"/>
        </a:p>
      </dgm:t>
    </dgm:pt>
    <dgm:pt modelId="{F53BA287-E063-4D9B-980F-7A7B535FD6C5}" type="pres">
      <dgm:prSet presAssocID="{FDEA4947-3CF2-4662-8DA6-1B76D652F33F}" presName="boxAndChildren" presStyleCnt="0"/>
      <dgm:spPr/>
    </dgm:pt>
    <dgm:pt modelId="{E4FB7EB9-DB1F-4B77-8916-C06FCEF6789F}" type="pres">
      <dgm:prSet presAssocID="{FDEA4947-3CF2-4662-8DA6-1B76D652F33F}" presName="parentTextBox" presStyleLbl="node1" presStyleIdx="0" presStyleCnt="4"/>
      <dgm:spPr/>
      <dgm:t>
        <a:bodyPr/>
        <a:lstStyle/>
        <a:p>
          <a:endParaRPr lang="en-GB"/>
        </a:p>
      </dgm:t>
    </dgm:pt>
    <dgm:pt modelId="{F135A61C-47B8-4A7A-8CAB-94A9999E9931}" type="pres">
      <dgm:prSet presAssocID="{E991FC3C-3FED-435B-A50E-1311F0918962}" presName="sp" presStyleCnt="0"/>
      <dgm:spPr/>
    </dgm:pt>
    <dgm:pt modelId="{D03B2DDF-C96D-4167-B59D-D8711AF9C515}" type="pres">
      <dgm:prSet presAssocID="{3F11142D-8171-4EBE-97EC-FE0AEB92904E}" presName="arrowAndChildren" presStyleCnt="0"/>
      <dgm:spPr/>
    </dgm:pt>
    <dgm:pt modelId="{89C8B4BD-A80B-4D95-A8F2-EAF1F80C4B2F}" type="pres">
      <dgm:prSet presAssocID="{3F11142D-8171-4EBE-97EC-FE0AEB92904E}" presName="parentTextArrow" presStyleLbl="node1" presStyleIdx="1" presStyleCnt="4"/>
      <dgm:spPr/>
      <dgm:t>
        <a:bodyPr/>
        <a:lstStyle/>
        <a:p>
          <a:endParaRPr lang="en-GB"/>
        </a:p>
      </dgm:t>
    </dgm:pt>
    <dgm:pt modelId="{521C8E2C-7B0C-440D-A446-7D7B6D75A05D}" type="pres">
      <dgm:prSet presAssocID="{5432AB7E-45A6-424B-9413-926449C8DF67}" presName="sp" presStyleCnt="0"/>
      <dgm:spPr/>
    </dgm:pt>
    <dgm:pt modelId="{131050D0-7E48-4191-BB51-E73149954768}" type="pres">
      <dgm:prSet presAssocID="{55CE6F24-B7B9-49BC-A1A4-981A0A3978C8}" presName="arrowAndChildren" presStyleCnt="0"/>
      <dgm:spPr/>
    </dgm:pt>
    <dgm:pt modelId="{722F1A67-1DC9-45FE-8BD6-606A2BCACBB4}" type="pres">
      <dgm:prSet presAssocID="{55CE6F24-B7B9-49BC-A1A4-981A0A3978C8}" presName="parentTextArrow" presStyleLbl="node1" presStyleIdx="2" presStyleCnt="4"/>
      <dgm:spPr/>
      <dgm:t>
        <a:bodyPr/>
        <a:lstStyle/>
        <a:p>
          <a:endParaRPr lang="en-GB"/>
        </a:p>
      </dgm:t>
    </dgm:pt>
    <dgm:pt modelId="{9C0EB971-D0FC-45F2-830D-BAE068BD27FB}" type="pres">
      <dgm:prSet presAssocID="{5AD0AB12-6576-4D14-9315-A895F99DDFB0}" presName="sp" presStyleCnt="0"/>
      <dgm:spPr/>
    </dgm:pt>
    <dgm:pt modelId="{5725C799-56DF-4217-BAD7-53D0B840F878}" type="pres">
      <dgm:prSet presAssocID="{5C6F335B-329C-434C-8740-857A6477911E}" presName="arrowAndChildren" presStyleCnt="0"/>
      <dgm:spPr/>
    </dgm:pt>
    <dgm:pt modelId="{85D563E9-C076-44DD-A313-9F6706ED4EC2}" type="pres">
      <dgm:prSet presAssocID="{5C6F335B-329C-434C-8740-857A6477911E}" presName="parentTextArrow" presStyleLbl="node1" presStyleIdx="3" presStyleCnt="4"/>
      <dgm:spPr/>
      <dgm:t>
        <a:bodyPr/>
        <a:lstStyle/>
        <a:p>
          <a:endParaRPr lang="en-GB"/>
        </a:p>
      </dgm:t>
    </dgm:pt>
  </dgm:ptLst>
  <dgm:cxnLst>
    <dgm:cxn modelId="{58F8583F-8198-4A91-A9ED-59D1A1238C64}" srcId="{D1DCD112-5EED-4F51-A118-3F435531A9AC}" destId="{5C6F335B-329C-434C-8740-857A6477911E}" srcOrd="0" destOrd="0" parTransId="{8D97DC2F-85E9-418C-A1DE-A71C32F8E838}" sibTransId="{5AD0AB12-6576-4D14-9315-A895F99DDFB0}"/>
    <dgm:cxn modelId="{6B24D824-7B9D-428E-8F98-2901D9FDC260}" type="presOf" srcId="{3F11142D-8171-4EBE-97EC-FE0AEB92904E}" destId="{89C8B4BD-A80B-4D95-A8F2-EAF1F80C4B2F}" srcOrd="0" destOrd="0" presId="urn:microsoft.com/office/officeart/2005/8/layout/process4"/>
    <dgm:cxn modelId="{077D6F04-8458-4D1D-A02E-8401895BE2F8}" type="presOf" srcId="{5C6F335B-329C-434C-8740-857A6477911E}" destId="{85D563E9-C076-44DD-A313-9F6706ED4EC2}" srcOrd="0" destOrd="0" presId="urn:microsoft.com/office/officeart/2005/8/layout/process4"/>
    <dgm:cxn modelId="{5B7E53C1-6135-44C1-B0C5-ACD0583AFF90}" srcId="{D1DCD112-5EED-4F51-A118-3F435531A9AC}" destId="{3F11142D-8171-4EBE-97EC-FE0AEB92904E}" srcOrd="2" destOrd="0" parTransId="{97A2A3DD-2208-4D8E-A6EC-A8CAECF440A4}" sibTransId="{E991FC3C-3FED-435B-A50E-1311F0918962}"/>
    <dgm:cxn modelId="{73069158-77DB-4226-BBB7-7924FCC06513}" type="presOf" srcId="{55CE6F24-B7B9-49BC-A1A4-981A0A3978C8}" destId="{722F1A67-1DC9-45FE-8BD6-606A2BCACBB4}" srcOrd="0" destOrd="0" presId="urn:microsoft.com/office/officeart/2005/8/layout/process4"/>
    <dgm:cxn modelId="{A379DE84-6D3F-49E3-939C-6248A1A48768}" srcId="{D1DCD112-5EED-4F51-A118-3F435531A9AC}" destId="{55CE6F24-B7B9-49BC-A1A4-981A0A3978C8}" srcOrd="1" destOrd="0" parTransId="{D2D3EE5F-1CC3-4274-BDA3-0B720DF639B5}" sibTransId="{5432AB7E-45A6-424B-9413-926449C8DF67}"/>
    <dgm:cxn modelId="{FEF75A07-A28E-4CD7-BA05-0712EFDF5164}" srcId="{D1DCD112-5EED-4F51-A118-3F435531A9AC}" destId="{FDEA4947-3CF2-4662-8DA6-1B76D652F33F}" srcOrd="3" destOrd="0" parTransId="{41530E47-B26D-40EF-9A08-88AF6BE9D6A0}" sibTransId="{530BAF33-080C-4A0B-92BE-9FEA18BEA741}"/>
    <dgm:cxn modelId="{EF2F0FEC-8670-4115-96A9-C907E224D053}" type="presOf" srcId="{D1DCD112-5EED-4F51-A118-3F435531A9AC}" destId="{C6E30489-2626-4FE8-A644-7ED098A6B7E1}" srcOrd="0" destOrd="0" presId="urn:microsoft.com/office/officeart/2005/8/layout/process4"/>
    <dgm:cxn modelId="{23540D2D-ABC1-4670-93B9-DB13FF3F2563}" type="presOf" srcId="{FDEA4947-3CF2-4662-8DA6-1B76D652F33F}" destId="{E4FB7EB9-DB1F-4B77-8916-C06FCEF6789F}" srcOrd="0" destOrd="0" presId="urn:microsoft.com/office/officeart/2005/8/layout/process4"/>
    <dgm:cxn modelId="{F1C57FD3-D29C-4753-8964-C9C0168B9B27}" type="presParOf" srcId="{C6E30489-2626-4FE8-A644-7ED098A6B7E1}" destId="{F53BA287-E063-4D9B-980F-7A7B535FD6C5}" srcOrd="0" destOrd="0" presId="urn:microsoft.com/office/officeart/2005/8/layout/process4"/>
    <dgm:cxn modelId="{CB8FCA4F-84C5-4CF9-9530-8CF5BCA1482D}" type="presParOf" srcId="{F53BA287-E063-4D9B-980F-7A7B535FD6C5}" destId="{E4FB7EB9-DB1F-4B77-8916-C06FCEF6789F}" srcOrd="0" destOrd="0" presId="urn:microsoft.com/office/officeart/2005/8/layout/process4"/>
    <dgm:cxn modelId="{025FFA7C-F79F-45C0-B42E-3F15E2344879}" type="presParOf" srcId="{C6E30489-2626-4FE8-A644-7ED098A6B7E1}" destId="{F135A61C-47B8-4A7A-8CAB-94A9999E9931}" srcOrd="1" destOrd="0" presId="urn:microsoft.com/office/officeart/2005/8/layout/process4"/>
    <dgm:cxn modelId="{CB8BBFDC-DE91-4398-B77E-824AB03E32F3}" type="presParOf" srcId="{C6E30489-2626-4FE8-A644-7ED098A6B7E1}" destId="{D03B2DDF-C96D-4167-B59D-D8711AF9C515}" srcOrd="2" destOrd="0" presId="urn:microsoft.com/office/officeart/2005/8/layout/process4"/>
    <dgm:cxn modelId="{8966D2FA-9A1B-4823-93DB-0AB9A2A8A61C}" type="presParOf" srcId="{D03B2DDF-C96D-4167-B59D-D8711AF9C515}" destId="{89C8B4BD-A80B-4D95-A8F2-EAF1F80C4B2F}" srcOrd="0" destOrd="0" presId="urn:microsoft.com/office/officeart/2005/8/layout/process4"/>
    <dgm:cxn modelId="{735E082A-B8D4-41D1-8E59-2FD8D6EAD454}" type="presParOf" srcId="{C6E30489-2626-4FE8-A644-7ED098A6B7E1}" destId="{521C8E2C-7B0C-440D-A446-7D7B6D75A05D}" srcOrd="3" destOrd="0" presId="urn:microsoft.com/office/officeart/2005/8/layout/process4"/>
    <dgm:cxn modelId="{31D06DAE-1DC6-439C-9018-27C9DCE54CD8}" type="presParOf" srcId="{C6E30489-2626-4FE8-A644-7ED098A6B7E1}" destId="{131050D0-7E48-4191-BB51-E73149954768}" srcOrd="4" destOrd="0" presId="urn:microsoft.com/office/officeart/2005/8/layout/process4"/>
    <dgm:cxn modelId="{679F1A1A-A777-46B6-BACF-F3E4F6FFCCD2}" type="presParOf" srcId="{131050D0-7E48-4191-BB51-E73149954768}" destId="{722F1A67-1DC9-45FE-8BD6-606A2BCACBB4}" srcOrd="0" destOrd="0" presId="urn:microsoft.com/office/officeart/2005/8/layout/process4"/>
    <dgm:cxn modelId="{EAB7E050-69AB-4336-AC53-51686D5D949F}" type="presParOf" srcId="{C6E30489-2626-4FE8-A644-7ED098A6B7E1}" destId="{9C0EB971-D0FC-45F2-830D-BAE068BD27FB}" srcOrd="5" destOrd="0" presId="urn:microsoft.com/office/officeart/2005/8/layout/process4"/>
    <dgm:cxn modelId="{BF6A5165-F94F-45FC-9B84-422BB83039E4}" type="presParOf" srcId="{C6E30489-2626-4FE8-A644-7ED098A6B7E1}" destId="{5725C799-56DF-4217-BAD7-53D0B840F878}" srcOrd="6" destOrd="0" presId="urn:microsoft.com/office/officeart/2005/8/layout/process4"/>
    <dgm:cxn modelId="{9C4FB428-C07F-4CDD-9C92-25FD0095606D}" type="presParOf" srcId="{5725C799-56DF-4217-BAD7-53D0B840F878}" destId="{85D563E9-C076-44DD-A313-9F6706ED4EC2}"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0763D94-4783-475C-A160-8E2FFD7FE770}" type="doc">
      <dgm:prSet loTypeId="urn:microsoft.com/office/officeart/2005/8/layout/vProcess5" loCatId="process" qsTypeId="urn:microsoft.com/office/officeart/2005/8/quickstyle/simple1#14" qsCatId="simple" csTypeId="urn:microsoft.com/office/officeart/2005/8/colors/accent1_2#14" csCatId="accent1" phldr="1"/>
      <dgm:spPr/>
      <dgm:t>
        <a:bodyPr/>
        <a:lstStyle/>
        <a:p>
          <a:endParaRPr lang="en-GB"/>
        </a:p>
      </dgm:t>
    </dgm:pt>
    <dgm:pt modelId="{783FCB10-EB2F-48E2-823E-EF4A3B866E6A}">
      <dgm:prSet custT="1">
        <dgm:style>
          <a:lnRef idx="2">
            <a:schemeClr val="accent5"/>
          </a:lnRef>
          <a:fillRef idx="1">
            <a:schemeClr val="lt1"/>
          </a:fillRef>
          <a:effectRef idx="0">
            <a:schemeClr val="accent5"/>
          </a:effectRef>
          <a:fontRef idx="minor">
            <a:schemeClr val="dk1"/>
          </a:fontRef>
        </dgm:style>
      </dgm:prSet>
      <dgm:spPr/>
      <dgm:t>
        <a:bodyPr/>
        <a:lstStyle/>
        <a:p>
          <a:pPr rtl="0"/>
          <a:r>
            <a:rPr lang="en-GB" sz="2000" dirty="0" smtClean="0"/>
            <a:t>Robust failsafe system for all positive HBV </a:t>
          </a:r>
          <a:r>
            <a:rPr lang="en-GB" sz="2000" dirty="0" err="1" smtClean="0"/>
            <a:t>sAg</a:t>
          </a:r>
          <a:r>
            <a:rPr lang="en-GB" sz="2000" dirty="0" smtClean="0"/>
            <a:t> cases</a:t>
          </a:r>
          <a:endParaRPr lang="en-GB" sz="2000" dirty="0"/>
        </a:p>
      </dgm:t>
    </dgm:pt>
    <dgm:pt modelId="{0FCA2768-FDD3-45DB-B909-7B97545BA7F9}" type="parTrans" cxnId="{6CEA3D29-B5A0-4F9C-99A0-B5D81931EAAD}">
      <dgm:prSet/>
      <dgm:spPr/>
      <dgm:t>
        <a:bodyPr/>
        <a:lstStyle/>
        <a:p>
          <a:endParaRPr lang="en-GB"/>
        </a:p>
      </dgm:t>
    </dgm:pt>
    <dgm:pt modelId="{A00DF245-FF66-4FCA-A805-9803E8B7AA78}" type="sibTrans" cxnId="{6CEA3D29-B5A0-4F9C-99A0-B5D81931EAAD}">
      <dgm:prSet/>
      <dgm:spPr/>
      <dgm:t>
        <a:bodyPr/>
        <a:lstStyle/>
        <a:p>
          <a:endParaRPr lang="en-GB"/>
        </a:p>
      </dgm:t>
    </dgm:pt>
    <dgm:pt modelId="{85969461-5B68-45B3-B1D4-AD6C5D26EA69}">
      <dgm:prSet custT="1">
        <dgm:style>
          <a:lnRef idx="2">
            <a:schemeClr val="accent5"/>
          </a:lnRef>
          <a:fillRef idx="1">
            <a:schemeClr val="lt1"/>
          </a:fillRef>
          <a:effectRef idx="0">
            <a:schemeClr val="accent5"/>
          </a:effectRef>
          <a:fontRef idx="minor">
            <a:schemeClr val="dk1"/>
          </a:fontRef>
        </dgm:style>
      </dgm:prSet>
      <dgm:spPr/>
      <dgm:t>
        <a:bodyPr/>
        <a:lstStyle/>
        <a:p>
          <a:pPr rtl="0"/>
          <a:r>
            <a:rPr lang="en-GB" sz="2000" dirty="0" smtClean="0"/>
            <a:t>All Practitioners offered support</a:t>
          </a:r>
          <a:endParaRPr lang="en-GB" sz="2000" dirty="0"/>
        </a:p>
      </dgm:t>
    </dgm:pt>
    <dgm:pt modelId="{96D68C62-C603-41A4-BCEC-BC6BF21E5C24}" type="parTrans" cxnId="{22864C4F-0578-4AFF-A075-F0B28C2CA6D2}">
      <dgm:prSet/>
      <dgm:spPr/>
      <dgm:t>
        <a:bodyPr/>
        <a:lstStyle/>
        <a:p>
          <a:endParaRPr lang="en-GB"/>
        </a:p>
      </dgm:t>
    </dgm:pt>
    <dgm:pt modelId="{7C2580CD-E1EA-4813-B9D7-650F542114CC}" type="sibTrans" cxnId="{22864C4F-0578-4AFF-A075-F0B28C2CA6D2}">
      <dgm:prSet/>
      <dgm:spPr/>
      <dgm:t>
        <a:bodyPr/>
        <a:lstStyle/>
        <a:p>
          <a:endParaRPr lang="en-GB"/>
        </a:p>
      </dgm:t>
    </dgm:pt>
    <dgm:pt modelId="{BE0ECCD3-6772-4317-BA3D-BF70F9A78C77}">
      <dgm:prSet custT="1">
        <dgm:style>
          <a:lnRef idx="2">
            <a:schemeClr val="accent5"/>
          </a:lnRef>
          <a:fillRef idx="1">
            <a:schemeClr val="lt1"/>
          </a:fillRef>
          <a:effectRef idx="0">
            <a:schemeClr val="accent5"/>
          </a:effectRef>
          <a:fontRef idx="minor">
            <a:schemeClr val="dk1"/>
          </a:fontRef>
        </dgm:style>
      </dgm:prSet>
      <dgm:spPr/>
      <dgm:t>
        <a:bodyPr/>
        <a:lstStyle/>
        <a:p>
          <a:pPr rtl="0"/>
          <a:r>
            <a:rPr lang="en-GB" sz="2000" dirty="0" smtClean="0"/>
            <a:t>All patients referred appropriately to specialist services</a:t>
          </a:r>
          <a:endParaRPr lang="en-GB" sz="2000" dirty="0"/>
        </a:p>
      </dgm:t>
    </dgm:pt>
    <dgm:pt modelId="{FC171A28-B94D-41E4-ABCB-48295C0F1EEE}" type="parTrans" cxnId="{7799CC88-EBB1-4B23-91C7-5484F2A6465C}">
      <dgm:prSet/>
      <dgm:spPr/>
      <dgm:t>
        <a:bodyPr/>
        <a:lstStyle/>
        <a:p>
          <a:endParaRPr lang="en-GB"/>
        </a:p>
      </dgm:t>
    </dgm:pt>
    <dgm:pt modelId="{4301F184-FA34-4571-BA8B-EE366BF72204}" type="sibTrans" cxnId="{7799CC88-EBB1-4B23-91C7-5484F2A6465C}">
      <dgm:prSet/>
      <dgm:spPr/>
      <dgm:t>
        <a:bodyPr/>
        <a:lstStyle/>
        <a:p>
          <a:endParaRPr lang="en-GB"/>
        </a:p>
      </dgm:t>
    </dgm:pt>
    <dgm:pt modelId="{69D96A22-566F-48C6-8F09-4B9403E90E91}">
      <dgm:prSet custT="1">
        <dgm:style>
          <a:lnRef idx="2">
            <a:schemeClr val="accent5"/>
          </a:lnRef>
          <a:fillRef idx="1">
            <a:schemeClr val="lt1"/>
          </a:fillRef>
          <a:effectRef idx="0">
            <a:schemeClr val="accent5"/>
          </a:effectRef>
          <a:fontRef idx="minor">
            <a:schemeClr val="dk1"/>
          </a:fontRef>
        </dgm:style>
      </dgm:prSet>
      <dgm:spPr/>
      <dgm:t>
        <a:bodyPr/>
        <a:lstStyle/>
        <a:p>
          <a:pPr rtl="0"/>
          <a:r>
            <a:rPr lang="en-GB" sz="2000" dirty="0" smtClean="0"/>
            <a:t>All partner notification/contact tracing issues are addressed</a:t>
          </a:r>
          <a:endParaRPr lang="en-GB" sz="2000" dirty="0"/>
        </a:p>
      </dgm:t>
    </dgm:pt>
    <dgm:pt modelId="{FD4F0BC8-E1C2-49B2-A995-72DE2B172892}" type="parTrans" cxnId="{A289ACD5-C9E4-436C-853D-56BE53DF3F6F}">
      <dgm:prSet/>
      <dgm:spPr/>
      <dgm:t>
        <a:bodyPr/>
        <a:lstStyle/>
        <a:p>
          <a:endParaRPr lang="en-GB"/>
        </a:p>
      </dgm:t>
    </dgm:pt>
    <dgm:pt modelId="{5EB6CCFB-8EB5-4787-9B05-DB3CC4F8685F}" type="sibTrans" cxnId="{A289ACD5-C9E4-436C-853D-56BE53DF3F6F}">
      <dgm:prSet/>
      <dgm:spPr/>
      <dgm:t>
        <a:bodyPr/>
        <a:lstStyle/>
        <a:p>
          <a:endParaRPr lang="en-GB"/>
        </a:p>
      </dgm:t>
    </dgm:pt>
    <dgm:pt modelId="{C11C7F9D-FFF2-4AF0-B18C-1828164667DA}" type="pres">
      <dgm:prSet presAssocID="{60763D94-4783-475C-A160-8E2FFD7FE770}" presName="outerComposite" presStyleCnt="0">
        <dgm:presLayoutVars>
          <dgm:chMax val="5"/>
          <dgm:dir/>
          <dgm:resizeHandles val="exact"/>
        </dgm:presLayoutVars>
      </dgm:prSet>
      <dgm:spPr/>
      <dgm:t>
        <a:bodyPr/>
        <a:lstStyle/>
        <a:p>
          <a:endParaRPr lang="en-GB"/>
        </a:p>
      </dgm:t>
    </dgm:pt>
    <dgm:pt modelId="{F7F62BCC-066F-4BDB-A2A1-90C07975A325}" type="pres">
      <dgm:prSet presAssocID="{60763D94-4783-475C-A160-8E2FFD7FE770}" presName="dummyMaxCanvas" presStyleCnt="0">
        <dgm:presLayoutVars/>
      </dgm:prSet>
      <dgm:spPr/>
    </dgm:pt>
    <dgm:pt modelId="{D072AEB9-6C28-411D-AAD9-0B03D463AE32}" type="pres">
      <dgm:prSet presAssocID="{60763D94-4783-475C-A160-8E2FFD7FE770}" presName="FourNodes_1" presStyleLbl="node1" presStyleIdx="0" presStyleCnt="4">
        <dgm:presLayoutVars>
          <dgm:bulletEnabled val="1"/>
        </dgm:presLayoutVars>
      </dgm:prSet>
      <dgm:spPr/>
      <dgm:t>
        <a:bodyPr/>
        <a:lstStyle/>
        <a:p>
          <a:endParaRPr lang="en-GB"/>
        </a:p>
      </dgm:t>
    </dgm:pt>
    <dgm:pt modelId="{054E9118-DF63-43F8-8BCD-557C3640621A}" type="pres">
      <dgm:prSet presAssocID="{60763D94-4783-475C-A160-8E2FFD7FE770}" presName="FourNodes_2" presStyleLbl="node1" presStyleIdx="1" presStyleCnt="4">
        <dgm:presLayoutVars>
          <dgm:bulletEnabled val="1"/>
        </dgm:presLayoutVars>
      </dgm:prSet>
      <dgm:spPr/>
      <dgm:t>
        <a:bodyPr/>
        <a:lstStyle/>
        <a:p>
          <a:endParaRPr lang="en-GB"/>
        </a:p>
      </dgm:t>
    </dgm:pt>
    <dgm:pt modelId="{F3054800-B4CF-4D3C-9661-057C3D57DFD1}" type="pres">
      <dgm:prSet presAssocID="{60763D94-4783-475C-A160-8E2FFD7FE770}" presName="FourNodes_3" presStyleLbl="node1" presStyleIdx="2" presStyleCnt="4">
        <dgm:presLayoutVars>
          <dgm:bulletEnabled val="1"/>
        </dgm:presLayoutVars>
      </dgm:prSet>
      <dgm:spPr/>
      <dgm:t>
        <a:bodyPr/>
        <a:lstStyle/>
        <a:p>
          <a:endParaRPr lang="en-GB"/>
        </a:p>
      </dgm:t>
    </dgm:pt>
    <dgm:pt modelId="{F59E793E-234E-4905-8F99-8DFBA40818CC}" type="pres">
      <dgm:prSet presAssocID="{60763D94-4783-475C-A160-8E2FFD7FE770}" presName="FourNodes_4" presStyleLbl="node1" presStyleIdx="3" presStyleCnt="4">
        <dgm:presLayoutVars>
          <dgm:bulletEnabled val="1"/>
        </dgm:presLayoutVars>
      </dgm:prSet>
      <dgm:spPr/>
      <dgm:t>
        <a:bodyPr/>
        <a:lstStyle/>
        <a:p>
          <a:endParaRPr lang="en-GB"/>
        </a:p>
      </dgm:t>
    </dgm:pt>
    <dgm:pt modelId="{93A48190-119C-4888-9E7C-4842F32C62D6}" type="pres">
      <dgm:prSet presAssocID="{60763D94-4783-475C-A160-8E2FFD7FE770}" presName="FourConn_1-2" presStyleLbl="fgAccFollowNode1" presStyleIdx="0" presStyleCnt="3">
        <dgm:presLayoutVars>
          <dgm:bulletEnabled val="1"/>
        </dgm:presLayoutVars>
      </dgm:prSet>
      <dgm:spPr/>
      <dgm:t>
        <a:bodyPr/>
        <a:lstStyle/>
        <a:p>
          <a:endParaRPr lang="en-GB"/>
        </a:p>
      </dgm:t>
    </dgm:pt>
    <dgm:pt modelId="{54601203-F63C-460A-A334-25706EFC1AEC}" type="pres">
      <dgm:prSet presAssocID="{60763D94-4783-475C-A160-8E2FFD7FE770}" presName="FourConn_2-3" presStyleLbl="fgAccFollowNode1" presStyleIdx="1" presStyleCnt="3">
        <dgm:presLayoutVars>
          <dgm:bulletEnabled val="1"/>
        </dgm:presLayoutVars>
      </dgm:prSet>
      <dgm:spPr/>
      <dgm:t>
        <a:bodyPr/>
        <a:lstStyle/>
        <a:p>
          <a:endParaRPr lang="en-GB"/>
        </a:p>
      </dgm:t>
    </dgm:pt>
    <dgm:pt modelId="{DFFD6D7D-6385-468A-9655-FAAF19AD7CB1}" type="pres">
      <dgm:prSet presAssocID="{60763D94-4783-475C-A160-8E2FFD7FE770}" presName="FourConn_3-4" presStyleLbl="fgAccFollowNode1" presStyleIdx="2" presStyleCnt="3">
        <dgm:presLayoutVars>
          <dgm:bulletEnabled val="1"/>
        </dgm:presLayoutVars>
      </dgm:prSet>
      <dgm:spPr/>
      <dgm:t>
        <a:bodyPr/>
        <a:lstStyle/>
        <a:p>
          <a:endParaRPr lang="en-GB"/>
        </a:p>
      </dgm:t>
    </dgm:pt>
    <dgm:pt modelId="{8A7C4EB7-512E-4011-A22B-399F01F2A2AB}" type="pres">
      <dgm:prSet presAssocID="{60763D94-4783-475C-A160-8E2FFD7FE770}" presName="FourNodes_1_text" presStyleLbl="node1" presStyleIdx="3" presStyleCnt="4">
        <dgm:presLayoutVars>
          <dgm:bulletEnabled val="1"/>
        </dgm:presLayoutVars>
      </dgm:prSet>
      <dgm:spPr/>
      <dgm:t>
        <a:bodyPr/>
        <a:lstStyle/>
        <a:p>
          <a:endParaRPr lang="en-GB"/>
        </a:p>
      </dgm:t>
    </dgm:pt>
    <dgm:pt modelId="{103454DE-AEE4-43A0-BFE8-CFB43626F241}" type="pres">
      <dgm:prSet presAssocID="{60763D94-4783-475C-A160-8E2FFD7FE770}" presName="FourNodes_2_text" presStyleLbl="node1" presStyleIdx="3" presStyleCnt="4">
        <dgm:presLayoutVars>
          <dgm:bulletEnabled val="1"/>
        </dgm:presLayoutVars>
      </dgm:prSet>
      <dgm:spPr/>
      <dgm:t>
        <a:bodyPr/>
        <a:lstStyle/>
        <a:p>
          <a:endParaRPr lang="en-GB"/>
        </a:p>
      </dgm:t>
    </dgm:pt>
    <dgm:pt modelId="{9CCFE639-EF59-4E80-96E0-A30CE072EC74}" type="pres">
      <dgm:prSet presAssocID="{60763D94-4783-475C-A160-8E2FFD7FE770}" presName="FourNodes_3_text" presStyleLbl="node1" presStyleIdx="3" presStyleCnt="4">
        <dgm:presLayoutVars>
          <dgm:bulletEnabled val="1"/>
        </dgm:presLayoutVars>
      </dgm:prSet>
      <dgm:spPr/>
      <dgm:t>
        <a:bodyPr/>
        <a:lstStyle/>
        <a:p>
          <a:endParaRPr lang="en-GB"/>
        </a:p>
      </dgm:t>
    </dgm:pt>
    <dgm:pt modelId="{BF2C383A-50C5-480D-B7CE-DA6E1242BA39}" type="pres">
      <dgm:prSet presAssocID="{60763D94-4783-475C-A160-8E2FFD7FE770}" presName="FourNodes_4_text" presStyleLbl="node1" presStyleIdx="3" presStyleCnt="4">
        <dgm:presLayoutVars>
          <dgm:bulletEnabled val="1"/>
        </dgm:presLayoutVars>
      </dgm:prSet>
      <dgm:spPr/>
      <dgm:t>
        <a:bodyPr/>
        <a:lstStyle/>
        <a:p>
          <a:endParaRPr lang="en-GB"/>
        </a:p>
      </dgm:t>
    </dgm:pt>
  </dgm:ptLst>
  <dgm:cxnLst>
    <dgm:cxn modelId="{E6BB54E7-F1CF-4ED3-BB0C-5F44F967510F}" type="presOf" srcId="{69D96A22-566F-48C6-8F09-4B9403E90E91}" destId="{F59E793E-234E-4905-8F99-8DFBA40818CC}" srcOrd="0" destOrd="0" presId="urn:microsoft.com/office/officeart/2005/8/layout/vProcess5"/>
    <dgm:cxn modelId="{45EEE99B-096B-4429-A333-65B0FA30C438}" type="presOf" srcId="{783FCB10-EB2F-48E2-823E-EF4A3B866E6A}" destId="{8A7C4EB7-512E-4011-A22B-399F01F2A2AB}" srcOrd="1" destOrd="0" presId="urn:microsoft.com/office/officeart/2005/8/layout/vProcess5"/>
    <dgm:cxn modelId="{53D5A919-2C5C-4199-99C2-2291CCB17789}" type="presOf" srcId="{BE0ECCD3-6772-4317-BA3D-BF70F9A78C77}" destId="{9CCFE639-EF59-4E80-96E0-A30CE072EC74}" srcOrd="1" destOrd="0" presId="urn:microsoft.com/office/officeart/2005/8/layout/vProcess5"/>
    <dgm:cxn modelId="{B598B5DA-1BD5-44EC-A68E-BFF152E2F86A}" type="presOf" srcId="{85969461-5B68-45B3-B1D4-AD6C5D26EA69}" destId="{054E9118-DF63-43F8-8BCD-557C3640621A}" srcOrd="0" destOrd="0" presId="urn:microsoft.com/office/officeart/2005/8/layout/vProcess5"/>
    <dgm:cxn modelId="{87D20704-8A48-4EF3-92FC-C4D48B83BF21}" type="presOf" srcId="{60763D94-4783-475C-A160-8E2FFD7FE770}" destId="{C11C7F9D-FFF2-4AF0-B18C-1828164667DA}" srcOrd="0" destOrd="0" presId="urn:microsoft.com/office/officeart/2005/8/layout/vProcess5"/>
    <dgm:cxn modelId="{D61EFB2C-7B87-49A1-BAEE-A726E647FB79}" type="presOf" srcId="{783FCB10-EB2F-48E2-823E-EF4A3B866E6A}" destId="{D072AEB9-6C28-411D-AAD9-0B03D463AE32}" srcOrd="0" destOrd="0" presId="urn:microsoft.com/office/officeart/2005/8/layout/vProcess5"/>
    <dgm:cxn modelId="{9177BD2F-95AB-4789-AC14-B7E9AB7F2D53}" type="presOf" srcId="{69D96A22-566F-48C6-8F09-4B9403E90E91}" destId="{BF2C383A-50C5-480D-B7CE-DA6E1242BA39}" srcOrd="1" destOrd="0" presId="urn:microsoft.com/office/officeart/2005/8/layout/vProcess5"/>
    <dgm:cxn modelId="{22864C4F-0578-4AFF-A075-F0B28C2CA6D2}" srcId="{60763D94-4783-475C-A160-8E2FFD7FE770}" destId="{85969461-5B68-45B3-B1D4-AD6C5D26EA69}" srcOrd="1" destOrd="0" parTransId="{96D68C62-C603-41A4-BCEC-BC6BF21E5C24}" sibTransId="{7C2580CD-E1EA-4813-B9D7-650F542114CC}"/>
    <dgm:cxn modelId="{07C99B38-FA11-4ABE-AF8C-735C816E813A}" type="presOf" srcId="{A00DF245-FF66-4FCA-A805-9803E8B7AA78}" destId="{93A48190-119C-4888-9E7C-4842F32C62D6}" srcOrd="0" destOrd="0" presId="urn:microsoft.com/office/officeart/2005/8/layout/vProcess5"/>
    <dgm:cxn modelId="{7AB95805-DEB0-4838-A83F-AE8EBFC4682A}" type="presOf" srcId="{85969461-5B68-45B3-B1D4-AD6C5D26EA69}" destId="{103454DE-AEE4-43A0-BFE8-CFB43626F241}" srcOrd="1" destOrd="0" presId="urn:microsoft.com/office/officeart/2005/8/layout/vProcess5"/>
    <dgm:cxn modelId="{A289ACD5-C9E4-436C-853D-56BE53DF3F6F}" srcId="{60763D94-4783-475C-A160-8E2FFD7FE770}" destId="{69D96A22-566F-48C6-8F09-4B9403E90E91}" srcOrd="3" destOrd="0" parTransId="{FD4F0BC8-E1C2-49B2-A995-72DE2B172892}" sibTransId="{5EB6CCFB-8EB5-4787-9B05-DB3CC4F8685F}"/>
    <dgm:cxn modelId="{1E3AD574-E251-4AF4-BA3D-64C4E1549319}" type="presOf" srcId="{7C2580CD-E1EA-4813-B9D7-650F542114CC}" destId="{54601203-F63C-460A-A334-25706EFC1AEC}" srcOrd="0" destOrd="0" presId="urn:microsoft.com/office/officeart/2005/8/layout/vProcess5"/>
    <dgm:cxn modelId="{DB59552D-EEAC-4C4B-AFE1-1FC6EC5ED804}" type="presOf" srcId="{4301F184-FA34-4571-BA8B-EE366BF72204}" destId="{DFFD6D7D-6385-468A-9655-FAAF19AD7CB1}" srcOrd="0" destOrd="0" presId="urn:microsoft.com/office/officeart/2005/8/layout/vProcess5"/>
    <dgm:cxn modelId="{929C5389-3159-4A8C-9638-A866BDA09FA6}" type="presOf" srcId="{BE0ECCD3-6772-4317-BA3D-BF70F9A78C77}" destId="{F3054800-B4CF-4D3C-9661-057C3D57DFD1}" srcOrd="0" destOrd="0" presId="urn:microsoft.com/office/officeart/2005/8/layout/vProcess5"/>
    <dgm:cxn modelId="{7799CC88-EBB1-4B23-91C7-5484F2A6465C}" srcId="{60763D94-4783-475C-A160-8E2FFD7FE770}" destId="{BE0ECCD3-6772-4317-BA3D-BF70F9A78C77}" srcOrd="2" destOrd="0" parTransId="{FC171A28-B94D-41E4-ABCB-48295C0F1EEE}" sibTransId="{4301F184-FA34-4571-BA8B-EE366BF72204}"/>
    <dgm:cxn modelId="{6CEA3D29-B5A0-4F9C-99A0-B5D81931EAAD}" srcId="{60763D94-4783-475C-A160-8E2FFD7FE770}" destId="{783FCB10-EB2F-48E2-823E-EF4A3B866E6A}" srcOrd="0" destOrd="0" parTransId="{0FCA2768-FDD3-45DB-B909-7B97545BA7F9}" sibTransId="{A00DF245-FF66-4FCA-A805-9803E8B7AA78}"/>
    <dgm:cxn modelId="{5415EA17-6750-4DC6-B71B-F3BD110F4E35}" type="presParOf" srcId="{C11C7F9D-FFF2-4AF0-B18C-1828164667DA}" destId="{F7F62BCC-066F-4BDB-A2A1-90C07975A325}" srcOrd="0" destOrd="0" presId="urn:microsoft.com/office/officeart/2005/8/layout/vProcess5"/>
    <dgm:cxn modelId="{70247027-6EE1-4D89-A3CE-AE376CFEE979}" type="presParOf" srcId="{C11C7F9D-FFF2-4AF0-B18C-1828164667DA}" destId="{D072AEB9-6C28-411D-AAD9-0B03D463AE32}" srcOrd="1" destOrd="0" presId="urn:microsoft.com/office/officeart/2005/8/layout/vProcess5"/>
    <dgm:cxn modelId="{7D7B0B26-1A24-4720-9187-4FE4529A8D41}" type="presParOf" srcId="{C11C7F9D-FFF2-4AF0-B18C-1828164667DA}" destId="{054E9118-DF63-43F8-8BCD-557C3640621A}" srcOrd="2" destOrd="0" presId="urn:microsoft.com/office/officeart/2005/8/layout/vProcess5"/>
    <dgm:cxn modelId="{5718E7E8-98AF-41D1-AFDE-7D6DDFEEC998}" type="presParOf" srcId="{C11C7F9D-FFF2-4AF0-B18C-1828164667DA}" destId="{F3054800-B4CF-4D3C-9661-057C3D57DFD1}" srcOrd="3" destOrd="0" presId="urn:microsoft.com/office/officeart/2005/8/layout/vProcess5"/>
    <dgm:cxn modelId="{CF58CE83-4BA9-4157-86A4-05D19914BB1F}" type="presParOf" srcId="{C11C7F9D-FFF2-4AF0-B18C-1828164667DA}" destId="{F59E793E-234E-4905-8F99-8DFBA40818CC}" srcOrd="4" destOrd="0" presId="urn:microsoft.com/office/officeart/2005/8/layout/vProcess5"/>
    <dgm:cxn modelId="{3F053B7A-4E22-44BC-B108-87003B2AE409}" type="presParOf" srcId="{C11C7F9D-FFF2-4AF0-B18C-1828164667DA}" destId="{93A48190-119C-4888-9E7C-4842F32C62D6}" srcOrd="5" destOrd="0" presId="urn:microsoft.com/office/officeart/2005/8/layout/vProcess5"/>
    <dgm:cxn modelId="{DB3DE166-60A3-448A-B0C7-84B3DFC459C6}" type="presParOf" srcId="{C11C7F9D-FFF2-4AF0-B18C-1828164667DA}" destId="{54601203-F63C-460A-A334-25706EFC1AEC}" srcOrd="6" destOrd="0" presId="urn:microsoft.com/office/officeart/2005/8/layout/vProcess5"/>
    <dgm:cxn modelId="{88F83FF8-3B12-4587-BCBB-E88806790925}" type="presParOf" srcId="{C11C7F9D-FFF2-4AF0-B18C-1828164667DA}" destId="{DFFD6D7D-6385-468A-9655-FAAF19AD7CB1}" srcOrd="7" destOrd="0" presId="urn:microsoft.com/office/officeart/2005/8/layout/vProcess5"/>
    <dgm:cxn modelId="{CDFC563D-9D7E-4326-84F3-C1AC6751016A}" type="presParOf" srcId="{C11C7F9D-FFF2-4AF0-B18C-1828164667DA}" destId="{8A7C4EB7-512E-4011-A22B-399F01F2A2AB}" srcOrd="8" destOrd="0" presId="urn:microsoft.com/office/officeart/2005/8/layout/vProcess5"/>
    <dgm:cxn modelId="{7C7AF59F-8D17-4AD7-B3FC-BD4642F350CA}" type="presParOf" srcId="{C11C7F9D-FFF2-4AF0-B18C-1828164667DA}" destId="{103454DE-AEE4-43A0-BFE8-CFB43626F241}" srcOrd="9" destOrd="0" presId="urn:microsoft.com/office/officeart/2005/8/layout/vProcess5"/>
    <dgm:cxn modelId="{906BF4AF-9342-426D-8F87-0DA9AABB75D6}" type="presParOf" srcId="{C11C7F9D-FFF2-4AF0-B18C-1828164667DA}" destId="{9CCFE639-EF59-4E80-96E0-A30CE072EC74}" srcOrd="10" destOrd="0" presId="urn:microsoft.com/office/officeart/2005/8/layout/vProcess5"/>
    <dgm:cxn modelId="{AAF07D74-4610-4A7C-99E2-8A7425F97922}" type="presParOf" srcId="{C11C7F9D-FFF2-4AF0-B18C-1828164667DA}" destId="{BF2C383A-50C5-480D-B7CE-DA6E1242BA39}"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3C9D03F-6B04-46D6-ADA6-F4380D3C1FA9}" type="doc">
      <dgm:prSet loTypeId="urn:microsoft.com/office/officeart/2005/8/layout/process1" loCatId="process" qsTypeId="urn:microsoft.com/office/officeart/2005/8/quickstyle/simple1#15" qsCatId="simple" csTypeId="urn:microsoft.com/office/officeart/2005/8/colors/accent1_2#15" csCatId="accent1"/>
      <dgm:spPr/>
      <dgm:t>
        <a:bodyPr/>
        <a:lstStyle/>
        <a:p>
          <a:endParaRPr lang="en-GB"/>
        </a:p>
      </dgm:t>
    </dgm:pt>
    <dgm:pt modelId="{46507D84-F4DE-4786-8557-07276C807A88}">
      <dgm:prSet/>
      <dgm:spPr/>
      <dgm:t>
        <a:bodyPr/>
        <a:lstStyle/>
        <a:p>
          <a:pPr rtl="0"/>
          <a:r>
            <a:rPr lang="en-GB" dirty="0" smtClean="0"/>
            <a:t>Audit Period 1</a:t>
          </a:r>
          <a:r>
            <a:rPr lang="en-GB" baseline="30000" dirty="0" smtClean="0"/>
            <a:t>st</a:t>
          </a:r>
          <a:r>
            <a:rPr lang="en-GB" dirty="0" smtClean="0"/>
            <a:t> September 2012 – 31</a:t>
          </a:r>
          <a:r>
            <a:rPr lang="en-GB" baseline="30000" dirty="0" smtClean="0"/>
            <a:t>st</a:t>
          </a:r>
          <a:r>
            <a:rPr lang="en-GB" dirty="0" smtClean="0"/>
            <a:t> December 2015</a:t>
          </a:r>
          <a:endParaRPr lang="en-GB" dirty="0"/>
        </a:p>
      </dgm:t>
    </dgm:pt>
    <dgm:pt modelId="{C54964EE-46B4-418F-8705-193EDBE58FA8}" type="parTrans" cxnId="{2CBC2CC2-617D-48D9-8A0D-27A883900BC9}">
      <dgm:prSet/>
      <dgm:spPr/>
      <dgm:t>
        <a:bodyPr/>
        <a:lstStyle/>
        <a:p>
          <a:endParaRPr lang="en-GB"/>
        </a:p>
      </dgm:t>
    </dgm:pt>
    <dgm:pt modelId="{01617F0D-37B0-4531-9E23-9144DF46097F}" type="sibTrans" cxnId="{2CBC2CC2-617D-48D9-8A0D-27A883900BC9}">
      <dgm:prSet/>
      <dgm:spPr/>
      <dgm:t>
        <a:bodyPr/>
        <a:lstStyle/>
        <a:p>
          <a:endParaRPr lang="en-GB"/>
        </a:p>
      </dgm:t>
    </dgm:pt>
    <dgm:pt modelId="{A94E79EA-DD28-4861-BCF1-20E3E0F263DF}" type="pres">
      <dgm:prSet presAssocID="{D3C9D03F-6B04-46D6-ADA6-F4380D3C1FA9}" presName="Name0" presStyleCnt="0">
        <dgm:presLayoutVars>
          <dgm:dir/>
          <dgm:resizeHandles val="exact"/>
        </dgm:presLayoutVars>
      </dgm:prSet>
      <dgm:spPr/>
      <dgm:t>
        <a:bodyPr/>
        <a:lstStyle/>
        <a:p>
          <a:endParaRPr lang="en-GB"/>
        </a:p>
      </dgm:t>
    </dgm:pt>
    <dgm:pt modelId="{9FE30D29-4692-45DE-91A4-6229D19BF130}" type="pres">
      <dgm:prSet presAssocID="{46507D84-F4DE-4786-8557-07276C807A88}" presName="node" presStyleLbl="node1" presStyleIdx="0" presStyleCnt="1">
        <dgm:presLayoutVars>
          <dgm:bulletEnabled val="1"/>
        </dgm:presLayoutVars>
      </dgm:prSet>
      <dgm:spPr/>
      <dgm:t>
        <a:bodyPr/>
        <a:lstStyle/>
        <a:p>
          <a:endParaRPr lang="en-GB"/>
        </a:p>
      </dgm:t>
    </dgm:pt>
  </dgm:ptLst>
  <dgm:cxnLst>
    <dgm:cxn modelId="{685568C9-5D73-46CF-A69D-83B777585017}" type="presOf" srcId="{46507D84-F4DE-4786-8557-07276C807A88}" destId="{9FE30D29-4692-45DE-91A4-6229D19BF130}" srcOrd="0" destOrd="0" presId="urn:microsoft.com/office/officeart/2005/8/layout/process1"/>
    <dgm:cxn modelId="{6B46FB28-0900-4E84-8DF0-8CF180272916}" type="presOf" srcId="{D3C9D03F-6B04-46D6-ADA6-F4380D3C1FA9}" destId="{A94E79EA-DD28-4861-BCF1-20E3E0F263DF}" srcOrd="0" destOrd="0" presId="urn:microsoft.com/office/officeart/2005/8/layout/process1"/>
    <dgm:cxn modelId="{2CBC2CC2-617D-48D9-8A0D-27A883900BC9}" srcId="{D3C9D03F-6B04-46D6-ADA6-F4380D3C1FA9}" destId="{46507D84-F4DE-4786-8557-07276C807A88}" srcOrd="0" destOrd="0" parTransId="{C54964EE-46B4-418F-8705-193EDBE58FA8}" sibTransId="{01617F0D-37B0-4531-9E23-9144DF46097F}"/>
    <dgm:cxn modelId="{DE3EADAA-E49C-41B2-A68A-2AB1BAA311C4}" type="presParOf" srcId="{A94E79EA-DD28-4861-BCF1-20E3E0F263DF}" destId="{9FE30D29-4692-45DE-91A4-6229D19BF130}"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0CD13BC-3F80-4422-89A4-B15A849DBB99}" type="doc">
      <dgm:prSet loTypeId="urn:microsoft.com/office/officeart/2005/8/layout/process1" loCatId="process" qsTypeId="urn:microsoft.com/office/officeart/2005/8/quickstyle/simple1#16" qsCatId="simple" csTypeId="urn:microsoft.com/office/officeart/2005/8/colors/accent1_2#16" csCatId="accent1"/>
      <dgm:spPr/>
      <dgm:t>
        <a:bodyPr/>
        <a:lstStyle/>
        <a:p>
          <a:endParaRPr lang="en-GB"/>
        </a:p>
      </dgm:t>
    </dgm:pt>
    <dgm:pt modelId="{6D82A7D4-5762-4EB5-9F75-F6011E795D3E}">
      <dgm:prSet/>
      <dgm:spPr/>
      <dgm:t>
        <a:bodyPr/>
        <a:lstStyle/>
        <a:p>
          <a:pPr rtl="0"/>
          <a:r>
            <a:rPr lang="en-GB" dirty="0" smtClean="0"/>
            <a:t>Reported Cases – Sources and Characteristics</a:t>
          </a:r>
          <a:endParaRPr lang="en-GB" dirty="0"/>
        </a:p>
      </dgm:t>
    </dgm:pt>
    <dgm:pt modelId="{25D59A31-8BA8-4AB9-882E-9F16A480D4E6}" type="parTrans" cxnId="{98CD7B4B-FC81-4801-AAAB-A91BEA45C5E2}">
      <dgm:prSet/>
      <dgm:spPr/>
      <dgm:t>
        <a:bodyPr/>
        <a:lstStyle/>
        <a:p>
          <a:endParaRPr lang="en-GB"/>
        </a:p>
      </dgm:t>
    </dgm:pt>
    <dgm:pt modelId="{254A2327-3E0A-4C76-9B10-95CC82CB6B91}" type="sibTrans" cxnId="{98CD7B4B-FC81-4801-AAAB-A91BEA45C5E2}">
      <dgm:prSet/>
      <dgm:spPr/>
      <dgm:t>
        <a:bodyPr/>
        <a:lstStyle/>
        <a:p>
          <a:endParaRPr lang="en-GB"/>
        </a:p>
      </dgm:t>
    </dgm:pt>
    <dgm:pt modelId="{311BB340-9FC2-41B5-B6CA-1357E5F25970}" type="pres">
      <dgm:prSet presAssocID="{A0CD13BC-3F80-4422-89A4-B15A849DBB99}" presName="Name0" presStyleCnt="0">
        <dgm:presLayoutVars>
          <dgm:dir/>
          <dgm:resizeHandles val="exact"/>
        </dgm:presLayoutVars>
      </dgm:prSet>
      <dgm:spPr/>
      <dgm:t>
        <a:bodyPr/>
        <a:lstStyle/>
        <a:p>
          <a:endParaRPr lang="en-GB"/>
        </a:p>
      </dgm:t>
    </dgm:pt>
    <dgm:pt modelId="{4C10FB62-2DBC-49EC-B79D-B234234B56EA}" type="pres">
      <dgm:prSet presAssocID="{6D82A7D4-5762-4EB5-9F75-F6011E795D3E}" presName="node" presStyleLbl="node1" presStyleIdx="0" presStyleCnt="1">
        <dgm:presLayoutVars>
          <dgm:bulletEnabled val="1"/>
        </dgm:presLayoutVars>
      </dgm:prSet>
      <dgm:spPr/>
      <dgm:t>
        <a:bodyPr/>
        <a:lstStyle/>
        <a:p>
          <a:endParaRPr lang="en-GB"/>
        </a:p>
      </dgm:t>
    </dgm:pt>
  </dgm:ptLst>
  <dgm:cxnLst>
    <dgm:cxn modelId="{98CD7B4B-FC81-4801-AAAB-A91BEA45C5E2}" srcId="{A0CD13BC-3F80-4422-89A4-B15A849DBB99}" destId="{6D82A7D4-5762-4EB5-9F75-F6011E795D3E}" srcOrd="0" destOrd="0" parTransId="{25D59A31-8BA8-4AB9-882E-9F16A480D4E6}" sibTransId="{254A2327-3E0A-4C76-9B10-95CC82CB6B91}"/>
    <dgm:cxn modelId="{8513F31C-B4FA-4DE4-B783-E06EA259AC8F}" type="presOf" srcId="{A0CD13BC-3F80-4422-89A4-B15A849DBB99}" destId="{311BB340-9FC2-41B5-B6CA-1357E5F25970}" srcOrd="0" destOrd="0" presId="urn:microsoft.com/office/officeart/2005/8/layout/process1"/>
    <dgm:cxn modelId="{5285DFE1-3AF7-47B3-87F4-CEC2CC55B9FF}" type="presOf" srcId="{6D82A7D4-5762-4EB5-9F75-F6011E795D3E}" destId="{4C10FB62-2DBC-49EC-B79D-B234234B56EA}" srcOrd="0" destOrd="0" presId="urn:microsoft.com/office/officeart/2005/8/layout/process1"/>
    <dgm:cxn modelId="{0D83FAA5-B651-419E-87BB-5CAA3BBE36C7}" type="presParOf" srcId="{311BB340-9FC2-41B5-B6CA-1357E5F25970}" destId="{4C10FB62-2DBC-49EC-B79D-B234234B56EA}" srcOrd="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58996D0-E468-4B1D-AA67-D61FB53A61A5}" type="doc">
      <dgm:prSet loTypeId="urn:microsoft.com/office/officeart/2005/8/layout/process1" loCatId="process" qsTypeId="urn:microsoft.com/office/officeart/2005/8/quickstyle/simple1#17" qsCatId="simple" csTypeId="urn:microsoft.com/office/officeart/2005/8/colors/accent1_2#17" csCatId="accent1"/>
      <dgm:spPr/>
      <dgm:t>
        <a:bodyPr/>
        <a:lstStyle/>
        <a:p>
          <a:endParaRPr lang="en-GB"/>
        </a:p>
      </dgm:t>
    </dgm:pt>
    <dgm:pt modelId="{63CE702B-7D5F-484E-B579-B64ED7858701}">
      <dgm:prSet/>
      <dgm:spPr/>
      <dgm:t>
        <a:bodyPr/>
        <a:lstStyle/>
        <a:p>
          <a:pPr rtl="0"/>
          <a:r>
            <a:rPr lang="en-GB" dirty="0" smtClean="0"/>
            <a:t>Total = 710</a:t>
          </a:r>
          <a:endParaRPr lang="en-GB" dirty="0"/>
        </a:p>
      </dgm:t>
    </dgm:pt>
    <dgm:pt modelId="{202DA861-3640-45AF-BFE6-153FDD2CD292}" type="parTrans" cxnId="{15D89445-8B4E-4409-8C7A-6E3A03F1AA3D}">
      <dgm:prSet/>
      <dgm:spPr/>
      <dgm:t>
        <a:bodyPr/>
        <a:lstStyle/>
        <a:p>
          <a:endParaRPr lang="en-GB"/>
        </a:p>
      </dgm:t>
    </dgm:pt>
    <dgm:pt modelId="{1671ED2F-FC48-4E05-AC97-E5D88512D463}" type="sibTrans" cxnId="{15D89445-8B4E-4409-8C7A-6E3A03F1AA3D}">
      <dgm:prSet/>
      <dgm:spPr/>
      <dgm:t>
        <a:bodyPr/>
        <a:lstStyle/>
        <a:p>
          <a:endParaRPr lang="en-GB"/>
        </a:p>
      </dgm:t>
    </dgm:pt>
    <dgm:pt modelId="{B3C06702-C7F0-4ED7-959D-A79EF29AE66F}" type="pres">
      <dgm:prSet presAssocID="{C58996D0-E468-4B1D-AA67-D61FB53A61A5}" presName="Name0" presStyleCnt="0">
        <dgm:presLayoutVars>
          <dgm:dir/>
          <dgm:resizeHandles val="exact"/>
        </dgm:presLayoutVars>
      </dgm:prSet>
      <dgm:spPr/>
      <dgm:t>
        <a:bodyPr/>
        <a:lstStyle/>
        <a:p>
          <a:endParaRPr lang="en-GB"/>
        </a:p>
      </dgm:t>
    </dgm:pt>
    <dgm:pt modelId="{4D99B41C-4D5C-4F4D-8399-6F9D8C91959D}" type="pres">
      <dgm:prSet presAssocID="{63CE702B-7D5F-484E-B579-B64ED7858701}" presName="node" presStyleLbl="node1" presStyleIdx="0" presStyleCnt="1">
        <dgm:presLayoutVars>
          <dgm:bulletEnabled val="1"/>
        </dgm:presLayoutVars>
      </dgm:prSet>
      <dgm:spPr/>
      <dgm:t>
        <a:bodyPr/>
        <a:lstStyle/>
        <a:p>
          <a:endParaRPr lang="en-GB"/>
        </a:p>
      </dgm:t>
    </dgm:pt>
  </dgm:ptLst>
  <dgm:cxnLst>
    <dgm:cxn modelId="{15D89445-8B4E-4409-8C7A-6E3A03F1AA3D}" srcId="{C58996D0-E468-4B1D-AA67-D61FB53A61A5}" destId="{63CE702B-7D5F-484E-B579-B64ED7858701}" srcOrd="0" destOrd="0" parTransId="{202DA861-3640-45AF-BFE6-153FDD2CD292}" sibTransId="{1671ED2F-FC48-4E05-AC97-E5D88512D463}"/>
    <dgm:cxn modelId="{4B884C10-52E2-489B-953A-C416282CF8DE}" type="presOf" srcId="{C58996D0-E468-4B1D-AA67-D61FB53A61A5}" destId="{B3C06702-C7F0-4ED7-959D-A79EF29AE66F}" srcOrd="0" destOrd="0" presId="urn:microsoft.com/office/officeart/2005/8/layout/process1"/>
    <dgm:cxn modelId="{E11F7809-C149-4F73-B2B2-3E514F5701F1}" type="presOf" srcId="{63CE702B-7D5F-484E-B579-B64ED7858701}" destId="{4D99B41C-4D5C-4F4D-8399-6F9D8C91959D}" srcOrd="0" destOrd="0" presId="urn:microsoft.com/office/officeart/2005/8/layout/process1"/>
    <dgm:cxn modelId="{92850C27-CC27-47A7-88FF-4F0ADA2EE1F9}" type="presParOf" srcId="{B3C06702-C7F0-4ED7-959D-A79EF29AE66F}" destId="{4D99B41C-4D5C-4F4D-8399-6F9D8C91959D}"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C85C931-2810-4AC7-92C2-228ADB76822E}" type="doc">
      <dgm:prSet loTypeId="urn:microsoft.com/office/officeart/2005/8/layout/hProcess9" loCatId="process" qsTypeId="urn:microsoft.com/office/officeart/2005/8/quickstyle/simple1#18" qsCatId="simple" csTypeId="urn:microsoft.com/office/officeart/2005/8/colors/accent1_2#18" csCatId="accent1" phldr="1"/>
      <dgm:spPr/>
      <dgm:t>
        <a:bodyPr/>
        <a:lstStyle/>
        <a:p>
          <a:endParaRPr lang="en-GB"/>
        </a:p>
      </dgm:t>
    </dgm:pt>
    <dgm:pt modelId="{CA0EA426-6DD6-48FC-BF3F-EEB1F86E2ABC}">
      <dgm:prSet/>
      <dgm:spPr/>
      <dgm:t>
        <a:bodyPr/>
        <a:lstStyle/>
        <a:p>
          <a:pPr rtl="0"/>
          <a:r>
            <a:rPr lang="en-GB" dirty="0" smtClean="0"/>
            <a:t>Informed</a:t>
          </a:r>
          <a:endParaRPr lang="en-GB" dirty="0"/>
        </a:p>
      </dgm:t>
    </dgm:pt>
    <dgm:pt modelId="{6B650FBB-9C57-409A-8C09-C1E2E4345435}" type="parTrans" cxnId="{92FEBD8C-E5C6-4939-BC66-350BC6D9E86B}">
      <dgm:prSet/>
      <dgm:spPr/>
      <dgm:t>
        <a:bodyPr/>
        <a:lstStyle/>
        <a:p>
          <a:endParaRPr lang="en-GB"/>
        </a:p>
      </dgm:t>
    </dgm:pt>
    <dgm:pt modelId="{6DF94620-B004-4C5D-89EE-1D665BFE564A}" type="sibTrans" cxnId="{92FEBD8C-E5C6-4939-BC66-350BC6D9E86B}">
      <dgm:prSet/>
      <dgm:spPr/>
      <dgm:t>
        <a:bodyPr/>
        <a:lstStyle/>
        <a:p>
          <a:endParaRPr lang="en-GB"/>
        </a:p>
      </dgm:t>
    </dgm:pt>
    <dgm:pt modelId="{9AD6CD13-6C74-47F8-AD3C-ED4BFF8A0563}">
      <dgm:prSet/>
      <dgm:spPr/>
      <dgm:t>
        <a:bodyPr/>
        <a:lstStyle/>
        <a:p>
          <a:pPr rtl="0"/>
          <a:endParaRPr lang="en-GB" dirty="0" smtClean="0"/>
        </a:p>
        <a:p>
          <a:pPr rtl="0"/>
          <a:r>
            <a:rPr lang="en-GB" dirty="0" smtClean="0"/>
            <a:t>Tested</a:t>
          </a:r>
          <a:endParaRPr lang="en-GB" dirty="0"/>
        </a:p>
      </dgm:t>
    </dgm:pt>
    <dgm:pt modelId="{EAD67DEE-96FE-473F-94F0-E2732D6E463A}" type="parTrans" cxnId="{81F0D6F0-92AE-41FF-92E1-05C54DCB99D7}">
      <dgm:prSet/>
      <dgm:spPr/>
      <dgm:t>
        <a:bodyPr/>
        <a:lstStyle/>
        <a:p>
          <a:endParaRPr lang="en-GB"/>
        </a:p>
      </dgm:t>
    </dgm:pt>
    <dgm:pt modelId="{517D509F-F6BE-4CBB-B434-927D411A7EB4}" type="sibTrans" cxnId="{81F0D6F0-92AE-41FF-92E1-05C54DCB99D7}">
      <dgm:prSet/>
      <dgm:spPr/>
      <dgm:t>
        <a:bodyPr/>
        <a:lstStyle/>
        <a:p>
          <a:endParaRPr lang="en-GB"/>
        </a:p>
      </dgm:t>
    </dgm:pt>
    <dgm:pt modelId="{E70BDDB3-007F-46FE-B071-2FEFA694CBFE}">
      <dgm:prSet/>
      <dgm:spPr/>
      <dgm:t>
        <a:bodyPr/>
        <a:lstStyle/>
        <a:p>
          <a:pPr rtl="0"/>
          <a:r>
            <a:rPr lang="en-GB" dirty="0" smtClean="0"/>
            <a:t> and result</a:t>
          </a:r>
          <a:endParaRPr lang="en-GB" dirty="0"/>
        </a:p>
      </dgm:t>
    </dgm:pt>
    <dgm:pt modelId="{ECB506AA-2C4B-4638-B8CE-85CD96BB463B}" type="parTrans" cxnId="{4915BD02-AE01-49F1-A67B-C6AEB2334D8B}">
      <dgm:prSet/>
      <dgm:spPr/>
      <dgm:t>
        <a:bodyPr/>
        <a:lstStyle/>
        <a:p>
          <a:endParaRPr lang="en-GB"/>
        </a:p>
      </dgm:t>
    </dgm:pt>
    <dgm:pt modelId="{DC45A520-5E7C-4803-8385-9B33397E19CF}" type="sibTrans" cxnId="{4915BD02-AE01-49F1-A67B-C6AEB2334D8B}">
      <dgm:prSet/>
      <dgm:spPr/>
      <dgm:t>
        <a:bodyPr/>
        <a:lstStyle/>
        <a:p>
          <a:endParaRPr lang="en-GB"/>
        </a:p>
      </dgm:t>
    </dgm:pt>
    <dgm:pt modelId="{1AA6C18D-AC24-4FC5-A38A-0C22B66C4BF8}">
      <dgm:prSet/>
      <dgm:spPr/>
      <dgm:t>
        <a:bodyPr/>
        <a:lstStyle/>
        <a:p>
          <a:pPr rtl="0"/>
          <a:r>
            <a:rPr lang="en-GB" dirty="0" smtClean="0"/>
            <a:t>Outcome (e.g. vaccinated, immune, referred)</a:t>
          </a:r>
          <a:endParaRPr lang="en-GB" dirty="0"/>
        </a:p>
      </dgm:t>
    </dgm:pt>
    <dgm:pt modelId="{056DEBA5-DFB0-4271-8CB9-EF1520BE68E7}" type="parTrans" cxnId="{5A2E1C4E-009D-4079-B586-C9259C6573E4}">
      <dgm:prSet/>
      <dgm:spPr/>
      <dgm:t>
        <a:bodyPr/>
        <a:lstStyle/>
        <a:p>
          <a:endParaRPr lang="en-GB"/>
        </a:p>
      </dgm:t>
    </dgm:pt>
    <dgm:pt modelId="{E471D0FE-B74B-421C-AED0-8C02C4C9A601}" type="sibTrans" cxnId="{5A2E1C4E-009D-4079-B586-C9259C6573E4}">
      <dgm:prSet/>
      <dgm:spPr/>
      <dgm:t>
        <a:bodyPr/>
        <a:lstStyle/>
        <a:p>
          <a:endParaRPr lang="en-GB"/>
        </a:p>
      </dgm:t>
    </dgm:pt>
    <dgm:pt modelId="{0AF942BC-7858-42FC-9562-AC2C4EC2925A}">
      <dgm:prSet/>
      <dgm:spPr/>
      <dgm:t>
        <a:bodyPr/>
        <a:lstStyle/>
        <a:p>
          <a:pPr rtl="0"/>
          <a:r>
            <a:rPr lang="en-GB" dirty="0" smtClean="0"/>
            <a:t>Verification</a:t>
          </a:r>
          <a:endParaRPr lang="en-GB" dirty="0"/>
        </a:p>
      </dgm:t>
    </dgm:pt>
    <dgm:pt modelId="{F6E8001B-C7D7-43B7-ACC2-EAB1A8C191D8}" type="parTrans" cxnId="{0E17CCD2-EB72-4293-A21C-4B5E44740469}">
      <dgm:prSet/>
      <dgm:spPr/>
      <dgm:t>
        <a:bodyPr/>
        <a:lstStyle/>
        <a:p>
          <a:endParaRPr lang="en-GB"/>
        </a:p>
      </dgm:t>
    </dgm:pt>
    <dgm:pt modelId="{82A20F62-3EED-433C-892A-7BEAC5A99B81}" type="sibTrans" cxnId="{0E17CCD2-EB72-4293-A21C-4B5E44740469}">
      <dgm:prSet/>
      <dgm:spPr/>
      <dgm:t>
        <a:bodyPr/>
        <a:lstStyle/>
        <a:p>
          <a:endParaRPr lang="en-GB"/>
        </a:p>
      </dgm:t>
    </dgm:pt>
    <dgm:pt modelId="{3664CCB7-7E7F-464A-A982-01B0D9264232}" type="pres">
      <dgm:prSet presAssocID="{1C85C931-2810-4AC7-92C2-228ADB76822E}" presName="CompostProcess" presStyleCnt="0">
        <dgm:presLayoutVars>
          <dgm:dir/>
          <dgm:resizeHandles val="exact"/>
        </dgm:presLayoutVars>
      </dgm:prSet>
      <dgm:spPr/>
      <dgm:t>
        <a:bodyPr/>
        <a:lstStyle/>
        <a:p>
          <a:endParaRPr lang="en-GB"/>
        </a:p>
      </dgm:t>
    </dgm:pt>
    <dgm:pt modelId="{75099CC0-1215-4275-8076-11C1EFD64A8B}" type="pres">
      <dgm:prSet presAssocID="{1C85C931-2810-4AC7-92C2-228ADB76822E}" presName="arrow" presStyleLbl="bgShp" presStyleIdx="0" presStyleCnt="1"/>
      <dgm:spPr/>
    </dgm:pt>
    <dgm:pt modelId="{377DF498-0654-451B-B2E6-6613E33785D4}" type="pres">
      <dgm:prSet presAssocID="{1C85C931-2810-4AC7-92C2-228ADB76822E}" presName="linearProcess" presStyleCnt="0"/>
      <dgm:spPr/>
    </dgm:pt>
    <dgm:pt modelId="{A6EF104D-9AD3-41BB-8131-385762F0DFC2}" type="pres">
      <dgm:prSet presAssocID="{CA0EA426-6DD6-48FC-BF3F-EEB1F86E2ABC}" presName="textNode" presStyleLbl="node1" presStyleIdx="0" presStyleCnt="4">
        <dgm:presLayoutVars>
          <dgm:bulletEnabled val="1"/>
        </dgm:presLayoutVars>
      </dgm:prSet>
      <dgm:spPr/>
      <dgm:t>
        <a:bodyPr/>
        <a:lstStyle/>
        <a:p>
          <a:endParaRPr lang="en-GB"/>
        </a:p>
      </dgm:t>
    </dgm:pt>
    <dgm:pt modelId="{7F428CA1-A1C2-48FF-B982-314F6606F0EC}" type="pres">
      <dgm:prSet presAssocID="{6DF94620-B004-4C5D-89EE-1D665BFE564A}" presName="sibTrans" presStyleCnt="0"/>
      <dgm:spPr/>
    </dgm:pt>
    <dgm:pt modelId="{538079F3-423F-4B07-ACA7-DD8F710C7DD8}" type="pres">
      <dgm:prSet presAssocID="{9AD6CD13-6C74-47F8-AD3C-ED4BFF8A0563}" presName="textNode" presStyleLbl="node1" presStyleIdx="1" presStyleCnt="4">
        <dgm:presLayoutVars>
          <dgm:bulletEnabled val="1"/>
        </dgm:presLayoutVars>
      </dgm:prSet>
      <dgm:spPr/>
      <dgm:t>
        <a:bodyPr/>
        <a:lstStyle/>
        <a:p>
          <a:endParaRPr lang="en-GB"/>
        </a:p>
      </dgm:t>
    </dgm:pt>
    <dgm:pt modelId="{076B9950-4BBB-4A14-B877-06EBDE9C94DD}" type="pres">
      <dgm:prSet presAssocID="{517D509F-F6BE-4CBB-B434-927D411A7EB4}" presName="sibTrans" presStyleCnt="0"/>
      <dgm:spPr/>
    </dgm:pt>
    <dgm:pt modelId="{7C9CC6DC-C93F-4D09-B13F-BADFB14CD132}" type="pres">
      <dgm:prSet presAssocID="{1AA6C18D-AC24-4FC5-A38A-0C22B66C4BF8}" presName="textNode" presStyleLbl="node1" presStyleIdx="2" presStyleCnt="4">
        <dgm:presLayoutVars>
          <dgm:bulletEnabled val="1"/>
        </dgm:presLayoutVars>
      </dgm:prSet>
      <dgm:spPr/>
      <dgm:t>
        <a:bodyPr/>
        <a:lstStyle/>
        <a:p>
          <a:endParaRPr lang="en-GB"/>
        </a:p>
      </dgm:t>
    </dgm:pt>
    <dgm:pt modelId="{CA19CE57-0DEB-4E5D-A5F7-7191AFF24962}" type="pres">
      <dgm:prSet presAssocID="{E471D0FE-B74B-421C-AED0-8C02C4C9A601}" presName="sibTrans" presStyleCnt="0"/>
      <dgm:spPr/>
    </dgm:pt>
    <dgm:pt modelId="{6CF18B56-CBA1-4A9B-ADC5-BAC666751C14}" type="pres">
      <dgm:prSet presAssocID="{0AF942BC-7858-42FC-9562-AC2C4EC2925A}" presName="textNode" presStyleLbl="node1" presStyleIdx="3" presStyleCnt="4">
        <dgm:presLayoutVars>
          <dgm:bulletEnabled val="1"/>
        </dgm:presLayoutVars>
      </dgm:prSet>
      <dgm:spPr/>
      <dgm:t>
        <a:bodyPr/>
        <a:lstStyle/>
        <a:p>
          <a:endParaRPr lang="en-GB"/>
        </a:p>
      </dgm:t>
    </dgm:pt>
  </dgm:ptLst>
  <dgm:cxnLst>
    <dgm:cxn modelId="{14839595-B199-4601-A74B-B3FCFC02EDB9}" type="presOf" srcId="{1C85C931-2810-4AC7-92C2-228ADB76822E}" destId="{3664CCB7-7E7F-464A-A982-01B0D9264232}" srcOrd="0" destOrd="0" presId="urn:microsoft.com/office/officeart/2005/8/layout/hProcess9"/>
    <dgm:cxn modelId="{5A2E1C4E-009D-4079-B586-C9259C6573E4}" srcId="{1C85C931-2810-4AC7-92C2-228ADB76822E}" destId="{1AA6C18D-AC24-4FC5-A38A-0C22B66C4BF8}" srcOrd="2" destOrd="0" parTransId="{056DEBA5-DFB0-4271-8CB9-EF1520BE68E7}" sibTransId="{E471D0FE-B74B-421C-AED0-8C02C4C9A601}"/>
    <dgm:cxn modelId="{C3D9E4D6-4FE0-4432-A8C7-CD1890D53E0F}" type="presOf" srcId="{1AA6C18D-AC24-4FC5-A38A-0C22B66C4BF8}" destId="{7C9CC6DC-C93F-4D09-B13F-BADFB14CD132}" srcOrd="0" destOrd="0" presId="urn:microsoft.com/office/officeart/2005/8/layout/hProcess9"/>
    <dgm:cxn modelId="{C6EF5706-CC22-4529-9246-0F5094A43B98}" type="presOf" srcId="{CA0EA426-6DD6-48FC-BF3F-EEB1F86E2ABC}" destId="{A6EF104D-9AD3-41BB-8131-385762F0DFC2}" srcOrd="0" destOrd="0" presId="urn:microsoft.com/office/officeart/2005/8/layout/hProcess9"/>
    <dgm:cxn modelId="{4915BD02-AE01-49F1-A67B-C6AEB2334D8B}" srcId="{9AD6CD13-6C74-47F8-AD3C-ED4BFF8A0563}" destId="{E70BDDB3-007F-46FE-B071-2FEFA694CBFE}" srcOrd="0" destOrd="0" parTransId="{ECB506AA-2C4B-4638-B8CE-85CD96BB463B}" sibTransId="{DC45A520-5E7C-4803-8385-9B33397E19CF}"/>
    <dgm:cxn modelId="{189D5D7F-5F4C-4E39-8167-F6263B389C4C}" type="presOf" srcId="{0AF942BC-7858-42FC-9562-AC2C4EC2925A}" destId="{6CF18B56-CBA1-4A9B-ADC5-BAC666751C14}" srcOrd="0" destOrd="0" presId="urn:microsoft.com/office/officeart/2005/8/layout/hProcess9"/>
    <dgm:cxn modelId="{3618DFD5-3978-44E6-A762-8B53E6DA3A72}" type="presOf" srcId="{9AD6CD13-6C74-47F8-AD3C-ED4BFF8A0563}" destId="{538079F3-423F-4B07-ACA7-DD8F710C7DD8}" srcOrd="0" destOrd="0" presId="urn:microsoft.com/office/officeart/2005/8/layout/hProcess9"/>
    <dgm:cxn modelId="{2993AB9F-3A3D-4EF7-B509-DA2A448B15FC}" type="presOf" srcId="{E70BDDB3-007F-46FE-B071-2FEFA694CBFE}" destId="{538079F3-423F-4B07-ACA7-DD8F710C7DD8}" srcOrd="0" destOrd="1" presId="urn:microsoft.com/office/officeart/2005/8/layout/hProcess9"/>
    <dgm:cxn modelId="{0E17CCD2-EB72-4293-A21C-4B5E44740469}" srcId="{1C85C931-2810-4AC7-92C2-228ADB76822E}" destId="{0AF942BC-7858-42FC-9562-AC2C4EC2925A}" srcOrd="3" destOrd="0" parTransId="{F6E8001B-C7D7-43B7-ACC2-EAB1A8C191D8}" sibTransId="{82A20F62-3EED-433C-892A-7BEAC5A99B81}"/>
    <dgm:cxn modelId="{92FEBD8C-E5C6-4939-BC66-350BC6D9E86B}" srcId="{1C85C931-2810-4AC7-92C2-228ADB76822E}" destId="{CA0EA426-6DD6-48FC-BF3F-EEB1F86E2ABC}" srcOrd="0" destOrd="0" parTransId="{6B650FBB-9C57-409A-8C09-C1E2E4345435}" sibTransId="{6DF94620-B004-4C5D-89EE-1D665BFE564A}"/>
    <dgm:cxn modelId="{81F0D6F0-92AE-41FF-92E1-05C54DCB99D7}" srcId="{1C85C931-2810-4AC7-92C2-228ADB76822E}" destId="{9AD6CD13-6C74-47F8-AD3C-ED4BFF8A0563}" srcOrd="1" destOrd="0" parTransId="{EAD67DEE-96FE-473F-94F0-E2732D6E463A}" sibTransId="{517D509F-F6BE-4CBB-B434-927D411A7EB4}"/>
    <dgm:cxn modelId="{90847561-8AC4-487C-B2A0-6C657DA59F54}" type="presParOf" srcId="{3664CCB7-7E7F-464A-A982-01B0D9264232}" destId="{75099CC0-1215-4275-8076-11C1EFD64A8B}" srcOrd="0" destOrd="0" presId="urn:microsoft.com/office/officeart/2005/8/layout/hProcess9"/>
    <dgm:cxn modelId="{BAEF1A9D-0B32-4F40-885C-F469C57D7024}" type="presParOf" srcId="{3664CCB7-7E7F-464A-A982-01B0D9264232}" destId="{377DF498-0654-451B-B2E6-6613E33785D4}" srcOrd="1" destOrd="0" presId="urn:microsoft.com/office/officeart/2005/8/layout/hProcess9"/>
    <dgm:cxn modelId="{9D141382-A1AD-48FD-A9BF-D2AF53A0B2B1}" type="presParOf" srcId="{377DF498-0654-451B-B2E6-6613E33785D4}" destId="{A6EF104D-9AD3-41BB-8131-385762F0DFC2}" srcOrd="0" destOrd="0" presId="urn:microsoft.com/office/officeart/2005/8/layout/hProcess9"/>
    <dgm:cxn modelId="{F18AE008-99D9-46F1-BC5C-D94430529A9C}" type="presParOf" srcId="{377DF498-0654-451B-B2E6-6613E33785D4}" destId="{7F428CA1-A1C2-48FF-B982-314F6606F0EC}" srcOrd="1" destOrd="0" presId="urn:microsoft.com/office/officeart/2005/8/layout/hProcess9"/>
    <dgm:cxn modelId="{1E4CC548-E40A-43B9-AB72-B763F666F6EA}" type="presParOf" srcId="{377DF498-0654-451B-B2E6-6613E33785D4}" destId="{538079F3-423F-4B07-ACA7-DD8F710C7DD8}" srcOrd="2" destOrd="0" presId="urn:microsoft.com/office/officeart/2005/8/layout/hProcess9"/>
    <dgm:cxn modelId="{AB8CDC6B-C0F4-46DB-8B38-670800EE5568}" type="presParOf" srcId="{377DF498-0654-451B-B2E6-6613E33785D4}" destId="{076B9950-4BBB-4A14-B877-06EBDE9C94DD}" srcOrd="3" destOrd="0" presId="urn:microsoft.com/office/officeart/2005/8/layout/hProcess9"/>
    <dgm:cxn modelId="{CC9F8EF8-3219-40C6-AEC1-229BABE4AF42}" type="presParOf" srcId="{377DF498-0654-451B-B2E6-6613E33785D4}" destId="{7C9CC6DC-C93F-4D09-B13F-BADFB14CD132}" srcOrd="4" destOrd="0" presId="urn:microsoft.com/office/officeart/2005/8/layout/hProcess9"/>
    <dgm:cxn modelId="{E0D23C88-7529-4C9F-9B60-20A01810ACE4}" type="presParOf" srcId="{377DF498-0654-451B-B2E6-6613E33785D4}" destId="{CA19CE57-0DEB-4E5D-A5F7-7191AFF24962}" srcOrd="5" destOrd="0" presId="urn:microsoft.com/office/officeart/2005/8/layout/hProcess9"/>
    <dgm:cxn modelId="{01799B18-8D21-4BBA-A1A0-D56F8168D31F}" type="presParOf" srcId="{377DF498-0654-451B-B2E6-6613E33785D4}" destId="{6CF18B56-CBA1-4A9B-ADC5-BAC666751C14}"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05CC92-1EC0-4BAF-8498-0D7E6BE97A8F}" type="doc">
      <dgm:prSet loTypeId="urn:microsoft.com/office/officeart/2005/8/layout/cycle1" loCatId="cycle" qsTypeId="urn:microsoft.com/office/officeart/2005/8/quickstyle/simple1#19" qsCatId="simple" csTypeId="urn:microsoft.com/office/officeart/2005/8/colors/accent1_2#19" csCatId="accent1" phldr="1"/>
      <dgm:spPr/>
      <dgm:t>
        <a:bodyPr/>
        <a:lstStyle/>
        <a:p>
          <a:endParaRPr lang="en-GB"/>
        </a:p>
      </dgm:t>
    </dgm:pt>
    <dgm:pt modelId="{DFE793FB-2049-465C-B3D5-9BCE6000F748}">
      <dgm:prSet>
        <dgm:style>
          <a:lnRef idx="1">
            <a:schemeClr val="accent3"/>
          </a:lnRef>
          <a:fillRef idx="2">
            <a:schemeClr val="accent3"/>
          </a:fillRef>
          <a:effectRef idx="1">
            <a:schemeClr val="accent3"/>
          </a:effectRef>
          <a:fontRef idx="minor">
            <a:schemeClr val="dk1"/>
          </a:fontRef>
        </dgm:style>
      </dgm:prSet>
      <dgm:spPr/>
      <dgm:t>
        <a:bodyPr/>
        <a:lstStyle/>
        <a:p>
          <a:pPr rtl="0"/>
          <a:r>
            <a:rPr lang="en-GB" b="1" dirty="0" smtClean="0"/>
            <a:t>Verbal – Patient/Partner/Staff</a:t>
          </a:r>
          <a:endParaRPr lang="en-GB" b="1" dirty="0"/>
        </a:p>
      </dgm:t>
    </dgm:pt>
    <dgm:pt modelId="{9DBEAE86-839E-44C8-9BCB-5AA23A66D40B}" type="parTrans" cxnId="{4EC1312F-15DE-469A-AD68-6B33D5973405}">
      <dgm:prSet/>
      <dgm:spPr/>
      <dgm:t>
        <a:bodyPr/>
        <a:lstStyle/>
        <a:p>
          <a:endParaRPr lang="en-GB"/>
        </a:p>
      </dgm:t>
    </dgm:pt>
    <dgm:pt modelId="{7EE562A3-DDB1-4682-BCF8-DEC014190D30}" type="sibTrans" cxnId="{4EC1312F-15DE-469A-AD68-6B33D5973405}">
      <dgm:prSet/>
      <dgm:spPr/>
      <dgm:t>
        <a:bodyPr/>
        <a:lstStyle/>
        <a:p>
          <a:endParaRPr lang="en-GB"/>
        </a:p>
      </dgm:t>
    </dgm:pt>
    <dgm:pt modelId="{C51A9DFA-91AF-44A9-B9FB-83C060132B16}">
      <dgm:prSet>
        <dgm:style>
          <a:lnRef idx="1">
            <a:schemeClr val="accent3"/>
          </a:lnRef>
          <a:fillRef idx="2">
            <a:schemeClr val="accent3"/>
          </a:fillRef>
          <a:effectRef idx="1">
            <a:schemeClr val="accent3"/>
          </a:effectRef>
          <a:fontRef idx="minor">
            <a:schemeClr val="dk1"/>
          </a:fontRef>
        </dgm:style>
      </dgm:prSet>
      <dgm:spPr/>
      <dgm:t>
        <a:bodyPr/>
        <a:lstStyle/>
        <a:p>
          <a:pPr rtl="0"/>
          <a:r>
            <a:rPr lang="en-GB" b="1" dirty="0" smtClean="0"/>
            <a:t>Colleagues/Records at </a:t>
          </a:r>
          <a:r>
            <a:rPr lang="en-GB" b="1" dirty="0" err="1" smtClean="0"/>
            <a:t>Sandyford</a:t>
          </a:r>
          <a:r>
            <a:rPr lang="en-GB" b="1" dirty="0" smtClean="0"/>
            <a:t> – index/partner attendance</a:t>
          </a:r>
          <a:endParaRPr lang="en-GB" b="1" dirty="0"/>
        </a:p>
      </dgm:t>
    </dgm:pt>
    <dgm:pt modelId="{C3A25020-B652-45F5-8554-ED53DA5A5838}" type="parTrans" cxnId="{0FCCF3B0-1061-44B1-9ED2-80DF1AFE9FC8}">
      <dgm:prSet/>
      <dgm:spPr/>
      <dgm:t>
        <a:bodyPr/>
        <a:lstStyle/>
        <a:p>
          <a:endParaRPr lang="en-GB"/>
        </a:p>
      </dgm:t>
    </dgm:pt>
    <dgm:pt modelId="{6FFD651B-EF06-4D70-8586-293300A5C37F}" type="sibTrans" cxnId="{0FCCF3B0-1061-44B1-9ED2-80DF1AFE9FC8}">
      <dgm:prSet/>
      <dgm:spPr/>
      <dgm:t>
        <a:bodyPr/>
        <a:lstStyle/>
        <a:p>
          <a:endParaRPr lang="en-GB"/>
        </a:p>
      </dgm:t>
    </dgm:pt>
    <dgm:pt modelId="{8CDF0A61-595D-4333-A299-2EFD01BE93AA}">
      <dgm:prSet>
        <dgm:style>
          <a:lnRef idx="1">
            <a:schemeClr val="accent3"/>
          </a:lnRef>
          <a:fillRef idx="2">
            <a:schemeClr val="accent3"/>
          </a:fillRef>
          <a:effectRef idx="1">
            <a:schemeClr val="accent3"/>
          </a:effectRef>
          <a:fontRef idx="minor">
            <a:schemeClr val="dk1"/>
          </a:fontRef>
        </dgm:style>
      </dgm:prSet>
      <dgm:spPr/>
      <dgm:t>
        <a:bodyPr/>
        <a:lstStyle/>
        <a:p>
          <a:pPr rtl="0"/>
          <a:r>
            <a:rPr lang="en-GB" b="1" dirty="0" smtClean="0"/>
            <a:t>Notes left for us on shared electronic records</a:t>
          </a:r>
          <a:endParaRPr lang="en-GB" b="1" dirty="0"/>
        </a:p>
      </dgm:t>
    </dgm:pt>
    <dgm:pt modelId="{2B70AF84-CB1B-484B-BF19-7A35F6F331D5}" type="parTrans" cxnId="{EA3AECC4-A9A8-4F87-B4E0-67B8626294B2}">
      <dgm:prSet/>
      <dgm:spPr/>
      <dgm:t>
        <a:bodyPr/>
        <a:lstStyle/>
        <a:p>
          <a:endParaRPr lang="en-GB"/>
        </a:p>
      </dgm:t>
    </dgm:pt>
    <dgm:pt modelId="{A6E6F831-B0AE-4ADE-89D7-3EED7721F07E}" type="sibTrans" cxnId="{EA3AECC4-A9A8-4F87-B4E0-67B8626294B2}">
      <dgm:prSet/>
      <dgm:spPr/>
      <dgm:t>
        <a:bodyPr/>
        <a:lstStyle/>
        <a:p>
          <a:endParaRPr lang="en-GB"/>
        </a:p>
      </dgm:t>
    </dgm:pt>
    <dgm:pt modelId="{922EBADF-725E-4679-8399-192EC5C3781D}">
      <dgm:prSet>
        <dgm:style>
          <a:lnRef idx="1">
            <a:schemeClr val="accent3"/>
          </a:lnRef>
          <a:fillRef idx="2">
            <a:schemeClr val="accent3"/>
          </a:fillRef>
          <a:effectRef idx="1">
            <a:schemeClr val="accent3"/>
          </a:effectRef>
          <a:fontRef idx="minor">
            <a:schemeClr val="dk1"/>
          </a:fontRef>
        </dgm:style>
      </dgm:prSet>
      <dgm:spPr/>
      <dgm:t>
        <a:bodyPr/>
        <a:lstStyle/>
        <a:p>
          <a:pPr rtl="0"/>
          <a:r>
            <a:rPr lang="en-GB" b="1" dirty="0" smtClean="0"/>
            <a:t>Clinical notes/summaries written by HCWs on shared electronic records</a:t>
          </a:r>
          <a:endParaRPr lang="en-GB" b="1" dirty="0"/>
        </a:p>
      </dgm:t>
    </dgm:pt>
    <dgm:pt modelId="{2C4AEB07-F9C1-4CCA-AD66-7D6C877E165D}" type="parTrans" cxnId="{C68A39BF-87DC-48AF-BCCD-3A7032ABD7B6}">
      <dgm:prSet/>
      <dgm:spPr/>
      <dgm:t>
        <a:bodyPr/>
        <a:lstStyle/>
        <a:p>
          <a:endParaRPr lang="en-GB"/>
        </a:p>
      </dgm:t>
    </dgm:pt>
    <dgm:pt modelId="{9332BE81-5EF1-41DE-B9C4-CED4934AF4C5}" type="sibTrans" cxnId="{C68A39BF-87DC-48AF-BCCD-3A7032ABD7B6}">
      <dgm:prSet/>
      <dgm:spPr/>
      <dgm:t>
        <a:bodyPr/>
        <a:lstStyle/>
        <a:p>
          <a:endParaRPr lang="en-GB"/>
        </a:p>
      </dgm:t>
    </dgm:pt>
    <dgm:pt modelId="{9D34BC50-AB93-4F31-A576-19BD323E4225}">
      <dgm:prSet>
        <dgm:style>
          <a:lnRef idx="1">
            <a:schemeClr val="accent3"/>
          </a:lnRef>
          <a:fillRef idx="2">
            <a:schemeClr val="accent3"/>
          </a:fillRef>
          <a:effectRef idx="1">
            <a:schemeClr val="accent3"/>
          </a:effectRef>
          <a:fontRef idx="minor">
            <a:schemeClr val="dk1"/>
          </a:fontRef>
        </dgm:style>
      </dgm:prSet>
      <dgm:spPr/>
      <dgm:t>
        <a:bodyPr/>
        <a:lstStyle/>
        <a:p>
          <a:pPr rtl="0"/>
          <a:r>
            <a:rPr lang="en-GB" b="1" smtClean="0"/>
            <a:t>Address searching (Trakcare or via GP)</a:t>
          </a:r>
          <a:endParaRPr lang="en-GB" b="1" dirty="0"/>
        </a:p>
      </dgm:t>
    </dgm:pt>
    <dgm:pt modelId="{377E22EA-9622-4886-9777-DCF764CA13D9}" type="parTrans" cxnId="{23B961B8-A2C9-405B-9903-759C344F5FE2}">
      <dgm:prSet/>
      <dgm:spPr/>
      <dgm:t>
        <a:bodyPr/>
        <a:lstStyle/>
        <a:p>
          <a:endParaRPr lang="en-GB"/>
        </a:p>
      </dgm:t>
    </dgm:pt>
    <dgm:pt modelId="{BD3BF1A9-77C2-4FB4-98A7-2BB6B3550212}" type="sibTrans" cxnId="{23B961B8-A2C9-405B-9903-759C344F5FE2}">
      <dgm:prSet/>
      <dgm:spPr/>
      <dgm:t>
        <a:bodyPr/>
        <a:lstStyle/>
        <a:p>
          <a:endParaRPr lang="en-GB"/>
        </a:p>
      </dgm:t>
    </dgm:pt>
    <dgm:pt modelId="{C7A1B01D-2949-49CD-A7B9-58BA218EF47E}" type="pres">
      <dgm:prSet presAssocID="{0105CC92-1EC0-4BAF-8498-0D7E6BE97A8F}" presName="cycle" presStyleCnt="0">
        <dgm:presLayoutVars>
          <dgm:dir/>
          <dgm:resizeHandles val="exact"/>
        </dgm:presLayoutVars>
      </dgm:prSet>
      <dgm:spPr/>
      <dgm:t>
        <a:bodyPr/>
        <a:lstStyle/>
        <a:p>
          <a:endParaRPr lang="en-GB"/>
        </a:p>
      </dgm:t>
    </dgm:pt>
    <dgm:pt modelId="{EA3623FC-661B-45AC-9CB6-0C2E34CA8220}" type="pres">
      <dgm:prSet presAssocID="{922EBADF-725E-4679-8399-192EC5C3781D}" presName="dummy" presStyleCnt="0"/>
      <dgm:spPr/>
    </dgm:pt>
    <dgm:pt modelId="{CD6225E2-5A0B-4F49-9A8F-CB33A2B2371D}" type="pres">
      <dgm:prSet presAssocID="{922EBADF-725E-4679-8399-192EC5C3781D}" presName="node" presStyleLbl="revTx" presStyleIdx="0" presStyleCnt="5" custScaleX="133100" custScaleY="133100">
        <dgm:presLayoutVars>
          <dgm:bulletEnabled val="1"/>
        </dgm:presLayoutVars>
      </dgm:prSet>
      <dgm:spPr/>
      <dgm:t>
        <a:bodyPr/>
        <a:lstStyle/>
        <a:p>
          <a:endParaRPr lang="en-GB"/>
        </a:p>
      </dgm:t>
    </dgm:pt>
    <dgm:pt modelId="{9241D661-3FAD-477A-85FC-4E53B52DDFD6}" type="pres">
      <dgm:prSet presAssocID="{9332BE81-5EF1-41DE-B9C4-CED4934AF4C5}" presName="sibTrans" presStyleLbl="node1" presStyleIdx="0" presStyleCnt="5"/>
      <dgm:spPr/>
      <dgm:t>
        <a:bodyPr/>
        <a:lstStyle/>
        <a:p>
          <a:endParaRPr lang="en-GB"/>
        </a:p>
      </dgm:t>
    </dgm:pt>
    <dgm:pt modelId="{C32C65E1-0783-48F8-9592-CD16039564F2}" type="pres">
      <dgm:prSet presAssocID="{DFE793FB-2049-465C-B3D5-9BCE6000F748}" presName="dummy" presStyleCnt="0"/>
      <dgm:spPr/>
    </dgm:pt>
    <dgm:pt modelId="{B6376C69-7C5B-42A2-97D4-6AEA2EF4C5AF}" type="pres">
      <dgm:prSet presAssocID="{DFE793FB-2049-465C-B3D5-9BCE6000F748}" presName="node" presStyleLbl="revTx" presStyleIdx="1" presStyleCnt="5" custScaleX="133100" custScaleY="133100">
        <dgm:presLayoutVars>
          <dgm:bulletEnabled val="1"/>
        </dgm:presLayoutVars>
      </dgm:prSet>
      <dgm:spPr/>
      <dgm:t>
        <a:bodyPr/>
        <a:lstStyle/>
        <a:p>
          <a:endParaRPr lang="en-GB"/>
        </a:p>
      </dgm:t>
    </dgm:pt>
    <dgm:pt modelId="{D06EC93A-844C-4C0F-A375-0B6FB18C10E7}" type="pres">
      <dgm:prSet presAssocID="{7EE562A3-DDB1-4682-BCF8-DEC014190D30}" presName="sibTrans" presStyleLbl="node1" presStyleIdx="1" presStyleCnt="5"/>
      <dgm:spPr/>
      <dgm:t>
        <a:bodyPr/>
        <a:lstStyle/>
        <a:p>
          <a:endParaRPr lang="en-GB"/>
        </a:p>
      </dgm:t>
    </dgm:pt>
    <dgm:pt modelId="{A8006207-0D70-4333-AFA4-01E56CCA6B80}" type="pres">
      <dgm:prSet presAssocID="{C51A9DFA-91AF-44A9-B9FB-83C060132B16}" presName="dummy" presStyleCnt="0"/>
      <dgm:spPr/>
    </dgm:pt>
    <dgm:pt modelId="{C1A6DC21-D2B3-4562-A7AC-EF90F1B76BFE}" type="pres">
      <dgm:prSet presAssocID="{C51A9DFA-91AF-44A9-B9FB-83C060132B16}" presName="node" presStyleLbl="revTx" presStyleIdx="2" presStyleCnt="5" custScaleX="133100" custScaleY="133100">
        <dgm:presLayoutVars>
          <dgm:bulletEnabled val="1"/>
        </dgm:presLayoutVars>
      </dgm:prSet>
      <dgm:spPr/>
      <dgm:t>
        <a:bodyPr/>
        <a:lstStyle/>
        <a:p>
          <a:endParaRPr lang="en-GB"/>
        </a:p>
      </dgm:t>
    </dgm:pt>
    <dgm:pt modelId="{6305CCA2-77D2-4907-B5B9-338E47CC2933}" type="pres">
      <dgm:prSet presAssocID="{6FFD651B-EF06-4D70-8586-293300A5C37F}" presName="sibTrans" presStyleLbl="node1" presStyleIdx="2" presStyleCnt="5"/>
      <dgm:spPr/>
      <dgm:t>
        <a:bodyPr/>
        <a:lstStyle/>
        <a:p>
          <a:endParaRPr lang="en-GB"/>
        </a:p>
      </dgm:t>
    </dgm:pt>
    <dgm:pt modelId="{FC80F374-402F-4428-AFF1-7B1A0A8C8C57}" type="pres">
      <dgm:prSet presAssocID="{9D34BC50-AB93-4F31-A576-19BD323E4225}" presName="dummy" presStyleCnt="0"/>
      <dgm:spPr/>
    </dgm:pt>
    <dgm:pt modelId="{5321EB2B-5312-40F7-8081-0A4850E34A6F}" type="pres">
      <dgm:prSet presAssocID="{9D34BC50-AB93-4F31-A576-19BD323E4225}" presName="node" presStyleLbl="revTx" presStyleIdx="3" presStyleCnt="5" custScaleX="133100" custScaleY="133100">
        <dgm:presLayoutVars>
          <dgm:bulletEnabled val="1"/>
        </dgm:presLayoutVars>
      </dgm:prSet>
      <dgm:spPr/>
      <dgm:t>
        <a:bodyPr/>
        <a:lstStyle/>
        <a:p>
          <a:endParaRPr lang="en-GB"/>
        </a:p>
      </dgm:t>
    </dgm:pt>
    <dgm:pt modelId="{D8A6CD87-66AE-4E2F-9F7B-E87DC1373EA0}" type="pres">
      <dgm:prSet presAssocID="{BD3BF1A9-77C2-4FB4-98A7-2BB6B3550212}" presName="sibTrans" presStyleLbl="node1" presStyleIdx="3" presStyleCnt="5"/>
      <dgm:spPr/>
      <dgm:t>
        <a:bodyPr/>
        <a:lstStyle/>
        <a:p>
          <a:endParaRPr lang="en-GB"/>
        </a:p>
      </dgm:t>
    </dgm:pt>
    <dgm:pt modelId="{8366655B-6D35-4794-9AF0-CF00CB48D862}" type="pres">
      <dgm:prSet presAssocID="{8CDF0A61-595D-4333-A299-2EFD01BE93AA}" presName="dummy" presStyleCnt="0"/>
      <dgm:spPr/>
    </dgm:pt>
    <dgm:pt modelId="{1F5555F2-1918-4D1A-9251-D92C8C639AB3}" type="pres">
      <dgm:prSet presAssocID="{8CDF0A61-595D-4333-A299-2EFD01BE93AA}" presName="node" presStyleLbl="revTx" presStyleIdx="4" presStyleCnt="5" custScaleX="133100" custScaleY="133100">
        <dgm:presLayoutVars>
          <dgm:bulletEnabled val="1"/>
        </dgm:presLayoutVars>
      </dgm:prSet>
      <dgm:spPr/>
      <dgm:t>
        <a:bodyPr/>
        <a:lstStyle/>
        <a:p>
          <a:endParaRPr lang="en-GB"/>
        </a:p>
      </dgm:t>
    </dgm:pt>
    <dgm:pt modelId="{97604947-D0AB-4458-A245-086AEE3664EE}" type="pres">
      <dgm:prSet presAssocID="{A6E6F831-B0AE-4ADE-89D7-3EED7721F07E}" presName="sibTrans" presStyleLbl="node1" presStyleIdx="4" presStyleCnt="5"/>
      <dgm:spPr/>
      <dgm:t>
        <a:bodyPr/>
        <a:lstStyle/>
        <a:p>
          <a:endParaRPr lang="en-GB"/>
        </a:p>
      </dgm:t>
    </dgm:pt>
  </dgm:ptLst>
  <dgm:cxnLst>
    <dgm:cxn modelId="{9E24142F-1775-4E35-AD1E-73C8822FB926}" type="presOf" srcId="{A6E6F831-B0AE-4ADE-89D7-3EED7721F07E}" destId="{97604947-D0AB-4458-A245-086AEE3664EE}" srcOrd="0" destOrd="0" presId="urn:microsoft.com/office/officeart/2005/8/layout/cycle1"/>
    <dgm:cxn modelId="{DC2409DC-2486-4541-B7E2-1597031D675D}" type="presOf" srcId="{8CDF0A61-595D-4333-A299-2EFD01BE93AA}" destId="{1F5555F2-1918-4D1A-9251-D92C8C639AB3}" srcOrd="0" destOrd="0" presId="urn:microsoft.com/office/officeart/2005/8/layout/cycle1"/>
    <dgm:cxn modelId="{7834F352-221C-4025-8D58-4EA33105F482}" type="presOf" srcId="{9D34BC50-AB93-4F31-A576-19BD323E4225}" destId="{5321EB2B-5312-40F7-8081-0A4850E34A6F}" srcOrd="0" destOrd="0" presId="urn:microsoft.com/office/officeart/2005/8/layout/cycle1"/>
    <dgm:cxn modelId="{721783B8-C284-4211-9B11-858A230B1137}" type="presOf" srcId="{C51A9DFA-91AF-44A9-B9FB-83C060132B16}" destId="{C1A6DC21-D2B3-4562-A7AC-EF90F1B76BFE}" srcOrd="0" destOrd="0" presId="urn:microsoft.com/office/officeart/2005/8/layout/cycle1"/>
    <dgm:cxn modelId="{FD4735B3-AFB9-4AE9-92CB-BD5BEB1ED3B6}" type="presOf" srcId="{9332BE81-5EF1-41DE-B9C4-CED4934AF4C5}" destId="{9241D661-3FAD-477A-85FC-4E53B52DDFD6}" srcOrd="0" destOrd="0" presId="urn:microsoft.com/office/officeart/2005/8/layout/cycle1"/>
    <dgm:cxn modelId="{4EC1312F-15DE-469A-AD68-6B33D5973405}" srcId="{0105CC92-1EC0-4BAF-8498-0D7E6BE97A8F}" destId="{DFE793FB-2049-465C-B3D5-9BCE6000F748}" srcOrd="1" destOrd="0" parTransId="{9DBEAE86-839E-44C8-9BCB-5AA23A66D40B}" sibTransId="{7EE562A3-DDB1-4682-BCF8-DEC014190D30}"/>
    <dgm:cxn modelId="{3689F805-94E9-40C0-A259-D9767581D3F2}" type="presOf" srcId="{6FFD651B-EF06-4D70-8586-293300A5C37F}" destId="{6305CCA2-77D2-4907-B5B9-338E47CC2933}" srcOrd="0" destOrd="0" presId="urn:microsoft.com/office/officeart/2005/8/layout/cycle1"/>
    <dgm:cxn modelId="{4810B778-E4FE-4DB3-8103-9789C44EDA87}" type="presOf" srcId="{922EBADF-725E-4679-8399-192EC5C3781D}" destId="{CD6225E2-5A0B-4F49-9A8F-CB33A2B2371D}" srcOrd="0" destOrd="0" presId="urn:microsoft.com/office/officeart/2005/8/layout/cycle1"/>
    <dgm:cxn modelId="{EA3AECC4-A9A8-4F87-B4E0-67B8626294B2}" srcId="{0105CC92-1EC0-4BAF-8498-0D7E6BE97A8F}" destId="{8CDF0A61-595D-4333-A299-2EFD01BE93AA}" srcOrd="4" destOrd="0" parTransId="{2B70AF84-CB1B-484B-BF19-7A35F6F331D5}" sibTransId="{A6E6F831-B0AE-4ADE-89D7-3EED7721F07E}"/>
    <dgm:cxn modelId="{23B961B8-A2C9-405B-9903-759C344F5FE2}" srcId="{0105CC92-1EC0-4BAF-8498-0D7E6BE97A8F}" destId="{9D34BC50-AB93-4F31-A576-19BD323E4225}" srcOrd="3" destOrd="0" parTransId="{377E22EA-9622-4886-9777-DCF764CA13D9}" sibTransId="{BD3BF1A9-77C2-4FB4-98A7-2BB6B3550212}"/>
    <dgm:cxn modelId="{178B9987-1985-41D7-9F04-4095EBD78E2F}" type="presOf" srcId="{0105CC92-1EC0-4BAF-8498-0D7E6BE97A8F}" destId="{C7A1B01D-2949-49CD-A7B9-58BA218EF47E}" srcOrd="0" destOrd="0" presId="urn:microsoft.com/office/officeart/2005/8/layout/cycle1"/>
    <dgm:cxn modelId="{A2B1915C-AA47-4E01-A138-643E9F5F5E79}" type="presOf" srcId="{7EE562A3-DDB1-4682-BCF8-DEC014190D30}" destId="{D06EC93A-844C-4C0F-A375-0B6FB18C10E7}" srcOrd="0" destOrd="0" presId="urn:microsoft.com/office/officeart/2005/8/layout/cycle1"/>
    <dgm:cxn modelId="{43BEEE1A-9F04-4C9F-90F8-FCDEEB3B0842}" type="presOf" srcId="{BD3BF1A9-77C2-4FB4-98A7-2BB6B3550212}" destId="{D8A6CD87-66AE-4E2F-9F7B-E87DC1373EA0}" srcOrd="0" destOrd="0" presId="urn:microsoft.com/office/officeart/2005/8/layout/cycle1"/>
    <dgm:cxn modelId="{C68A39BF-87DC-48AF-BCCD-3A7032ABD7B6}" srcId="{0105CC92-1EC0-4BAF-8498-0D7E6BE97A8F}" destId="{922EBADF-725E-4679-8399-192EC5C3781D}" srcOrd="0" destOrd="0" parTransId="{2C4AEB07-F9C1-4CCA-AD66-7D6C877E165D}" sibTransId="{9332BE81-5EF1-41DE-B9C4-CED4934AF4C5}"/>
    <dgm:cxn modelId="{96A3BD0E-E036-4F41-B028-40925B927D6B}" type="presOf" srcId="{DFE793FB-2049-465C-B3D5-9BCE6000F748}" destId="{B6376C69-7C5B-42A2-97D4-6AEA2EF4C5AF}" srcOrd="0" destOrd="0" presId="urn:microsoft.com/office/officeart/2005/8/layout/cycle1"/>
    <dgm:cxn modelId="{0FCCF3B0-1061-44B1-9ED2-80DF1AFE9FC8}" srcId="{0105CC92-1EC0-4BAF-8498-0D7E6BE97A8F}" destId="{C51A9DFA-91AF-44A9-B9FB-83C060132B16}" srcOrd="2" destOrd="0" parTransId="{C3A25020-B652-45F5-8554-ED53DA5A5838}" sibTransId="{6FFD651B-EF06-4D70-8586-293300A5C37F}"/>
    <dgm:cxn modelId="{8973C179-1A8C-4217-9D12-4845CD301649}" type="presParOf" srcId="{C7A1B01D-2949-49CD-A7B9-58BA218EF47E}" destId="{EA3623FC-661B-45AC-9CB6-0C2E34CA8220}" srcOrd="0" destOrd="0" presId="urn:microsoft.com/office/officeart/2005/8/layout/cycle1"/>
    <dgm:cxn modelId="{71EA9D04-2E97-490D-A624-8BF75330DDCF}" type="presParOf" srcId="{C7A1B01D-2949-49CD-A7B9-58BA218EF47E}" destId="{CD6225E2-5A0B-4F49-9A8F-CB33A2B2371D}" srcOrd="1" destOrd="0" presId="urn:microsoft.com/office/officeart/2005/8/layout/cycle1"/>
    <dgm:cxn modelId="{FF192631-76FC-4F2A-830C-887699AFC528}" type="presParOf" srcId="{C7A1B01D-2949-49CD-A7B9-58BA218EF47E}" destId="{9241D661-3FAD-477A-85FC-4E53B52DDFD6}" srcOrd="2" destOrd="0" presId="urn:microsoft.com/office/officeart/2005/8/layout/cycle1"/>
    <dgm:cxn modelId="{6B466A4F-E871-4241-9A07-FBAD6DE33E1D}" type="presParOf" srcId="{C7A1B01D-2949-49CD-A7B9-58BA218EF47E}" destId="{C32C65E1-0783-48F8-9592-CD16039564F2}" srcOrd="3" destOrd="0" presId="urn:microsoft.com/office/officeart/2005/8/layout/cycle1"/>
    <dgm:cxn modelId="{61C19ADE-914E-4FE5-8A2C-7B4F7E1539B0}" type="presParOf" srcId="{C7A1B01D-2949-49CD-A7B9-58BA218EF47E}" destId="{B6376C69-7C5B-42A2-97D4-6AEA2EF4C5AF}" srcOrd="4" destOrd="0" presId="urn:microsoft.com/office/officeart/2005/8/layout/cycle1"/>
    <dgm:cxn modelId="{4EB5E6D7-CA57-4EDD-A544-5B178B61E198}" type="presParOf" srcId="{C7A1B01D-2949-49CD-A7B9-58BA218EF47E}" destId="{D06EC93A-844C-4C0F-A375-0B6FB18C10E7}" srcOrd="5" destOrd="0" presId="urn:microsoft.com/office/officeart/2005/8/layout/cycle1"/>
    <dgm:cxn modelId="{AA49D9C3-27FE-4BD0-A37C-1BFA498E2F86}" type="presParOf" srcId="{C7A1B01D-2949-49CD-A7B9-58BA218EF47E}" destId="{A8006207-0D70-4333-AFA4-01E56CCA6B80}" srcOrd="6" destOrd="0" presId="urn:microsoft.com/office/officeart/2005/8/layout/cycle1"/>
    <dgm:cxn modelId="{A0D05A51-63C9-40C0-9F15-AAB06F6DBC38}" type="presParOf" srcId="{C7A1B01D-2949-49CD-A7B9-58BA218EF47E}" destId="{C1A6DC21-D2B3-4562-A7AC-EF90F1B76BFE}" srcOrd="7" destOrd="0" presId="urn:microsoft.com/office/officeart/2005/8/layout/cycle1"/>
    <dgm:cxn modelId="{7538FE53-ED77-496B-8A33-B366E5F75653}" type="presParOf" srcId="{C7A1B01D-2949-49CD-A7B9-58BA218EF47E}" destId="{6305CCA2-77D2-4907-B5B9-338E47CC2933}" srcOrd="8" destOrd="0" presId="urn:microsoft.com/office/officeart/2005/8/layout/cycle1"/>
    <dgm:cxn modelId="{D2CF93C7-2F70-4BAF-BB02-F37E481E72DC}" type="presParOf" srcId="{C7A1B01D-2949-49CD-A7B9-58BA218EF47E}" destId="{FC80F374-402F-4428-AFF1-7B1A0A8C8C57}" srcOrd="9" destOrd="0" presId="urn:microsoft.com/office/officeart/2005/8/layout/cycle1"/>
    <dgm:cxn modelId="{E23C776B-A321-4AA6-A955-688714E54362}" type="presParOf" srcId="{C7A1B01D-2949-49CD-A7B9-58BA218EF47E}" destId="{5321EB2B-5312-40F7-8081-0A4850E34A6F}" srcOrd="10" destOrd="0" presId="urn:microsoft.com/office/officeart/2005/8/layout/cycle1"/>
    <dgm:cxn modelId="{2DBBEDCF-693F-47FA-A8D9-0AC6168AFCC9}" type="presParOf" srcId="{C7A1B01D-2949-49CD-A7B9-58BA218EF47E}" destId="{D8A6CD87-66AE-4E2F-9F7B-E87DC1373EA0}" srcOrd="11" destOrd="0" presId="urn:microsoft.com/office/officeart/2005/8/layout/cycle1"/>
    <dgm:cxn modelId="{30D52248-6C83-4D63-B632-318CE51C5BB5}" type="presParOf" srcId="{C7A1B01D-2949-49CD-A7B9-58BA218EF47E}" destId="{8366655B-6D35-4794-9AF0-CF00CB48D862}" srcOrd="12" destOrd="0" presId="urn:microsoft.com/office/officeart/2005/8/layout/cycle1"/>
    <dgm:cxn modelId="{5B68B821-0B0A-48B2-A285-0A567FA50EF3}" type="presParOf" srcId="{C7A1B01D-2949-49CD-A7B9-58BA218EF47E}" destId="{1F5555F2-1918-4D1A-9251-D92C8C639AB3}" srcOrd="13" destOrd="0" presId="urn:microsoft.com/office/officeart/2005/8/layout/cycle1"/>
    <dgm:cxn modelId="{7E8FDB5D-7C4C-4092-99B5-2674B2BCA5BE}" type="presParOf" srcId="{C7A1B01D-2949-49CD-A7B9-58BA218EF47E}" destId="{97604947-D0AB-4458-A245-086AEE3664EE}" srcOrd="14" destOrd="0" presId="urn:microsoft.com/office/officeart/2005/8/layout/cycl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1C859E4-9830-43F1-A41C-695278AE4943}" type="doc">
      <dgm:prSet loTypeId="urn:microsoft.com/office/officeart/2005/8/layout/venn1" loCatId="relationship" qsTypeId="urn:microsoft.com/office/officeart/2005/8/quickstyle/simple1#20" qsCatId="simple" csTypeId="urn:microsoft.com/office/officeart/2005/8/colors/accent1_2#20" csCatId="accent1"/>
      <dgm:spPr/>
      <dgm:t>
        <a:bodyPr/>
        <a:lstStyle/>
        <a:p>
          <a:endParaRPr lang="en-GB"/>
        </a:p>
      </dgm:t>
    </dgm:pt>
    <dgm:pt modelId="{DF66BB76-8E03-446F-AE09-B51DC43D64AC}">
      <dgm:prSet/>
      <dgm:spPr/>
      <dgm:t>
        <a:bodyPr/>
        <a:lstStyle/>
        <a:p>
          <a:pPr rtl="0"/>
          <a:r>
            <a:rPr lang="en-GB" dirty="0" smtClean="0"/>
            <a:t>GP Surgeries</a:t>
          </a:r>
          <a:endParaRPr lang="en-GB" dirty="0"/>
        </a:p>
      </dgm:t>
    </dgm:pt>
    <dgm:pt modelId="{C95BA8D2-D610-4763-83CB-9DE455492E6D}" type="parTrans" cxnId="{1DFA65A9-138E-4485-A978-66C2CF44503B}">
      <dgm:prSet/>
      <dgm:spPr/>
      <dgm:t>
        <a:bodyPr/>
        <a:lstStyle/>
        <a:p>
          <a:endParaRPr lang="en-GB"/>
        </a:p>
      </dgm:t>
    </dgm:pt>
    <dgm:pt modelId="{BF4F91B9-BE86-4AB0-8DED-88035081AEE4}" type="sibTrans" cxnId="{1DFA65A9-138E-4485-A978-66C2CF44503B}">
      <dgm:prSet/>
      <dgm:spPr/>
      <dgm:t>
        <a:bodyPr/>
        <a:lstStyle/>
        <a:p>
          <a:endParaRPr lang="en-GB"/>
        </a:p>
      </dgm:t>
    </dgm:pt>
    <dgm:pt modelId="{53172468-5F8A-43F2-8103-0BD618FC9C3B}">
      <dgm:prSet/>
      <dgm:spPr/>
      <dgm:t>
        <a:bodyPr/>
        <a:lstStyle/>
        <a:p>
          <a:pPr rtl="0"/>
          <a:r>
            <a:rPr lang="en-GB" dirty="0" smtClean="0"/>
            <a:t>Health Visitors</a:t>
          </a:r>
          <a:endParaRPr lang="en-GB" dirty="0"/>
        </a:p>
      </dgm:t>
    </dgm:pt>
    <dgm:pt modelId="{E090CFFF-E227-4818-A43B-190E1DC66BAE}" type="parTrans" cxnId="{B52BEB02-FBF6-43E1-8DA3-14A5BB620D9B}">
      <dgm:prSet/>
      <dgm:spPr/>
      <dgm:t>
        <a:bodyPr/>
        <a:lstStyle/>
        <a:p>
          <a:endParaRPr lang="en-GB"/>
        </a:p>
      </dgm:t>
    </dgm:pt>
    <dgm:pt modelId="{83573AAF-E2A5-48CC-9CCF-08FB47DCE45F}" type="sibTrans" cxnId="{B52BEB02-FBF6-43E1-8DA3-14A5BB620D9B}">
      <dgm:prSet/>
      <dgm:spPr/>
      <dgm:t>
        <a:bodyPr/>
        <a:lstStyle/>
        <a:p>
          <a:endParaRPr lang="en-GB"/>
        </a:p>
      </dgm:t>
    </dgm:pt>
    <dgm:pt modelId="{060BE215-C3C2-4418-B412-243B33F605BA}">
      <dgm:prSet/>
      <dgm:spPr/>
      <dgm:t>
        <a:bodyPr/>
        <a:lstStyle/>
        <a:p>
          <a:pPr rtl="0"/>
          <a:r>
            <a:rPr lang="en-GB" dirty="0" smtClean="0"/>
            <a:t>Prison Health Services</a:t>
          </a:r>
          <a:endParaRPr lang="en-GB" dirty="0"/>
        </a:p>
      </dgm:t>
    </dgm:pt>
    <dgm:pt modelId="{55EB6E34-89D8-4A26-B253-0B5627B19700}" type="parTrans" cxnId="{6464AE8D-BB2E-4566-9C3A-E30BCDBE46E3}">
      <dgm:prSet/>
      <dgm:spPr/>
      <dgm:t>
        <a:bodyPr/>
        <a:lstStyle/>
        <a:p>
          <a:endParaRPr lang="en-GB"/>
        </a:p>
      </dgm:t>
    </dgm:pt>
    <dgm:pt modelId="{62DFDF7E-315F-4ECD-B592-9EA64CACCDA7}" type="sibTrans" cxnId="{6464AE8D-BB2E-4566-9C3A-E30BCDBE46E3}">
      <dgm:prSet/>
      <dgm:spPr/>
      <dgm:t>
        <a:bodyPr/>
        <a:lstStyle/>
        <a:p>
          <a:endParaRPr lang="en-GB"/>
        </a:p>
      </dgm:t>
    </dgm:pt>
    <dgm:pt modelId="{EF5B7926-79C2-42E2-9711-127F26BC665D}">
      <dgm:prSet/>
      <dgm:spPr/>
      <dgm:t>
        <a:bodyPr/>
        <a:lstStyle/>
        <a:p>
          <a:pPr rtl="0"/>
          <a:r>
            <a:rPr lang="en-GB" dirty="0" smtClean="0"/>
            <a:t>Gastroenterology / Infectious Diseases</a:t>
          </a:r>
          <a:endParaRPr lang="en-GB" dirty="0"/>
        </a:p>
      </dgm:t>
    </dgm:pt>
    <dgm:pt modelId="{D40FA5FD-0371-4B6F-80EA-4E35C8396A90}" type="parTrans" cxnId="{759DE544-50BD-4354-83AD-02612FE74B19}">
      <dgm:prSet/>
      <dgm:spPr/>
      <dgm:t>
        <a:bodyPr/>
        <a:lstStyle/>
        <a:p>
          <a:endParaRPr lang="en-GB"/>
        </a:p>
      </dgm:t>
    </dgm:pt>
    <dgm:pt modelId="{7ACFCCCB-365F-4E0B-9D10-570CB47B09F0}" type="sibTrans" cxnId="{759DE544-50BD-4354-83AD-02612FE74B19}">
      <dgm:prSet/>
      <dgm:spPr/>
      <dgm:t>
        <a:bodyPr/>
        <a:lstStyle/>
        <a:p>
          <a:endParaRPr lang="en-GB"/>
        </a:p>
      </dgm:t>
    </dgm:pt>
    <dgm:pt modelId="{1497A3F5-E73B-4E42-8A03-5E28017E9693}">
      <dgm:prSet/>
      <dgm:spPr/>
      <dgm:t>
        <a:bodyPr/>
        <a:lstStyle/>
        <a:p>
          <a:pPr rtl="0"/>
          <a:r>
            <a:rPr lang="en-GB" dirty="0" smtClean="0"/>
            <a:t>Antenatal Services</a:t>
          </a:r>
          <a:endParaRPr lang="en-GB" dirty="0"/>
        </a:p>
      </dgm:t>
    </dgm:pt>
    <dgm:pt modelId="{B033D1AE-ACCF-4624-813E-9CB7D5C26D73}" type="parTrans" cxnId="{6E73950C-1F9B-4CEB-BE9D-A2EF658576D3}">
      <dgm:prSet/>
      <dgm:spPr/>
      <dgm:t>
        <a:bodyPr/>
        <a:lstStyle/>
        <a:p>
          <a:endParaRPr lang="en-GB"/>
        </a:p>
      </dgm:t>
    </dgm:pt>
    <dgm:pt modelId="{36D1F877-667D-4A2E-ADEA-F90D884B9888}" type="sibTrans" cxnId="{6E73950C-1F9B-4CEB-BE9D-A2EF658576D3}">
      <dgm:prSet/>
      <dgm:spPr/>
      <dgm:t>
        <a:bodyPr/>
        <a:lstStyle/>
        <a:p>
          <a:endParaRPr lang="en-GB"/>
        </a:p>
      </dgm:t>
    </dgm:pt>
    <dgm:pt modelId="{A4E3371D-74BF-4022-8DD2-0952FA3BB50A}">
      <dgm:prSet/>
      <dgm:spPr/>
      <dgm:t>
        <a:bodyPr/>
        <a:lstStyle/>
        <a:p>
          <a:pPr rtl="0"/>
          <a:r>
            <a:rPr lang="en-GB" dirty="0" smtClean="0"/>
            <a:t>Asylum Health Bridging Team</a:t>
          </a:r>
          <a:endParaRPr lang="en-GB" dirty="0"/>
        </a:p>
      </dgm:t>
    </dgm:pt>
    <dgm:pt modelId="{DB859071-B27F-4F1A-B704-730065764069}" type="parTrans" cxnId="{AF5F2BC6-D13E-4484-BACF-A7175F09FA00}">
      <dgm:prSet/>
      <dgm:spPr/>
      <dgm:t>
        <a:bodyPr/>
        <a:lstStyle/>
        <a:p>
          <a:endParaRPr lang="en-GB"/>
        </a:p>
      </dgm:t>
    </dgm:pt>
    <dgm:pt modelId="{3D0551DA-E5D4-47DE-B017-16315C025904}" type="sibTrans" cxnId="{AF5F2BC6-D13E-4484-BACF-A7175F09FA00}">
      <dgm:prSet/>
      <dgm:spPr/>
      <dgm:t>
        <a:bodyPr/>
        <a:lstStyle/>
        <a:p>
          <a:endParaRPr lang="en-GB"/>
        </a:p>
      </dgm:t>
    </dgm:pt>
    <dgm:pt modelId="{F6B36E4D-6206-43B2-BC9C-BDD138B3952A}">
      <dgm:prSet/>
      <dgm:spPr/>
      <dgm:t>
        <a:bodyPr/>
        <a:lstStyle/>
        <a:p>
          <a:pPr rtl="0"/>
          <a:r>
            <a:rPr lang="en-GB" dirty="0" smtClean="0"/>
            <a:t>Homeless Health &amp; Support Services</a:t>
          </a:r>
          <a:endParaRPr lang="en-GB" dirty="0"/>
        </a:p>
      </dgm:t>
    </dgm:pt>
    <dgm:pt modelId="{ACB052EE-4EBB-4BC8-BAD3-12CA65AE0A61}" type="parTrans" cxnId="{40949194-2DE8-4D3D-A3DD-8571E106ED2A}">
      <dgm:prSet/>
      <dgm:spPr/>
      <dgm:t>
        <a:bodyPr/>
        <a:lstStyle/>
        <a:p>
          <a:endParaRPr lang="en-GB"/>
        </a:p>
      </dgm:t>
    </dgm:pt>
    <dgm:pt modelId="{54EC1B05-40E9-45A4-9ADC-0F15F5F2FA83}" type="sibTrans" cxnId="{40949194-2DE8-4D3D-A3DD-8571E106ED2A}">
      <dgm:prSet/>
      <dgm:spPr/>
      <dgm:t>
        <a:bodyPr/>
        <a:lstStyle/>
        <a:p>
          <a:endParaRPr lang="en-GB"/>
        </a:p>
      </dgm:t>
    </dgm:pt>
    <dgm:pt modelId="{4F152CBB-557C-498C-9BF5-8B041A93188C}">
      <dgm:prSet/>
      <dgm:spPr/>
      <dgm:t>
        <a:bodyPr/>
        <a:lstStyle/>
        <a:p>
          <a:endParaRPr lang="en-GB"/>
        </a:p>
      </dgm:t>
    </dgm:pt>
    <dgm:pt modelId="{98EE1D67-08DF-4AC9-A340-6C7D33CCC3D5}" type="parTrans" cxnId="{01863E3E-D527-4AA1-8F33-BD3FF7543394}">
      <dgm:prSet/>
      <dgm:spPr/>
      <dgm:t>
        <a:bodyPr/>
        <a:lstStyle/>
        <a:p>
          <a:endParaRPr lang="en-GB"/>
        </a:p>
      </dgm:t>
    </dgm:pt>
    <dgm:pt modelId="{17E5F7D3-782E-4E86-A019-C590649F5E2F}" type="sibTrans" cxnId="{01863E3E-D527-4AA1-8F33-BD3FF7543394}">
      <dgm:prSet/>
      <dgm:spPr/>
      <dgm:t>
        <a:bodyPr/>
        <a:lstStyle/>
        <a:p>
          <a:endParaRPr lang="en-GB"/>
        </a:p>
      </dgm:t>
    </dgm:pt>
    <dgm:pt modelId="{6D41F4C9-30E2-49FE-843A-B8DEC00B8229}">
      <dgm:prSet/>
      <dgm:spPr/>
      <dgm:t>
        <a:bodyPr/>
        <a:lstStyle/>
        <a:p>
          <a:pPr rtl="0"/>
          <a:endParaRPr lang="en-GB" dirty="0"/>
        </a:p>
      </dgm:t>
    </dgm:pt>
    <dgm:pt modelId="{4FC36333-C03B-48F9-95FF-D8C30770ADAA}" type="parTrans" cxnId="{E9D6861C-2017-4199-A785-044C2FC359E5}">
      <dgm:prSet/>
      <dgm:spPr/>
      <dgm:t>
        <a:bodyPr/>
        <a:lstStyle/>
        <a:p>
          <a:endParaRPr lang="en-GB"/>
        </a:p>
      </dgm:t>
    </dgm:pt>
    <dgm:pt modelId="{3E7BB55C-DE68-4C34-BAB3-FEADE9B0AEC0}" type="sibTrans" cxnId="{E9D6861C-2017-4199-A785-044C2FC359E5}">
      <dgm:prSet/>
      <dgm:spPr/>
      <dgm:t>
        <a:bodyPr/>
        <a:lstStyle/>
        <a:p>
          <a:endParaRPr lang="en-GB"/>
        </a:p>
      </dgm:t>
    </dgm:pt>
    <dgm:pt modelId="{F2B3D05C-ED55-48A4-BAC8-69BEBACEBAB4}">
      <dgm:prSet/>
      <dgm:spPr/>
      <dgm:t>
        <a:bodyPr/>
        <a:lstStyle/>
        <a:p>
          <a:pPr rtl="0"/>
          <a:endParaRPr lang="en-GB" dirty="0"/>
        </a:p>
      </dgm:t>
    </dgm:pt>
    <dgm:pt modelId="{ED152CD8-FF16-42EB-8148-E7436EFB584E}" type="parTrans" cxnId="{88DEA3E2-95D2-45B9-B65C-439C6D99A33C}">
      <dgm:prSet/>
      <dgm:spPr/>
      <dgm:t>
        <a:bodyPr/>
        <a:lstStyle/>
        <a:p>
          <a:endParaRPr lang="en-GB"/>
        </a:p>
      </dgm:t>
    </dgm:pt>
    <dgm:pt modelId="{3C2F7AB2-8A10-47F0-8B35-F65181D18981}" type="sibTrans" cxnId="{88DEA3E2-95D2-45B9-B65C-439C6D99A33C}">
      <dgm:prSet/>
      <dgm:spPr/>
      <dgm:t>
        <a:bodyPr/>
        <a:lstStyle/>
        <a:p>
          <a:endParaRPr lang="en-GB"/>
        </a:p>
      </dgm:t>
    </dgm:pt>
    <dgm:pt modelId="{D2A54B24-EE40-4036-917A-A0047294B86C}" type="pres">
      <dgm:prSet presAssocID="{E1C859E4-9830-43F1-A41C-695278AE4943}" presName="compositeShape" presStyleCnt="0">
        <dgm:presLayoutVars>
          <dgm:chMax val="7"/>
          <dgm:dir/>
          <dgm:resizeHandles val="exact"/>
        </dgm:presLayoutVars>
      </dgm:prSet>
      <dgm:spPr/>
      <dgm:t>
        <a:bodyPr/>
        <a:lstStyle/>
        <a:p>
          <a:endParaRPr lang="en-GB"/>
        </a:p>
      </dgm:t>
    </dgm:pt>
    <dgm:pt modelId="{F781B997-A6FB-4626-9C9B-28F7BF0937F2}" type="pres">
      <dgm:prSet presAssocID="{DF66BB76-8E03-446F-AE09-B51DC43D64AC}" presName="circ1" presStyleLbl="vennNode1" presStyleIdx="0" presStyleCnt="7"/>
      <dgm:spPr/>
    </dgm:pt>
    <dgm:pt modelId="{EDB4270F-1E43-4B71-A52C-540625CE5D04}" type="pres">
      <dgm:prSet presAssocID="{DF66BB76-8E03-446F-AE09-B51DC43D64AC}" presName="circ1Tx" presStyleLbl="revTx" presStyleIdx="0" presStyleCnt="0">
        <dgm:presLayoutVars>
          <dgm:chMax val="0"/>
          <dgm:chPref val="0"/>
          <dgm:bulletEnabled val="1"/>
        </dgm:presLayoutVars>
      </dgm:prSet>
      <dgm:spPr/>
      <dgm:t>
        <a:bodyPr/>
        <a:lstStyle/>
        <a:p>
          <a:endParaRPr lang="en-GB"/>
        </a:p>
      </dgm:t>
    </dgm:pt>
    <dgm:pt modelId="{BD503479-00CD-46FC-AC13-9CCDA3FD028E}" type="pres">
      <dgm:prSet presAssocID="{53172468-5F8A-43F2-8103-0BD618FC9C3B}" presName="circ2" presStyleLbl="vennNode1" presStyleIdx="1" presStyleCnt="7"/>
      <dgm:spPr/>
    </dgm:pt>
    <dgm:pt modelId="{94C979F5-03E1-4FD8-9FDE-2A77F166D9BB}" type="pres">
      <dgm:prSet presAssocID="{53172468-5F8A-43F2-8103-0BD618FC9C3B}" presName="circ2Tx" presStyleLbl="revTx" presStyleIdx="0" presStyleCnt="0">
        <dgm:presLayoutVars>
          <dgm:chMax val="0"/>
          <dgm:chPref val="0"/>
          <dgm:bulletEnabled val="1"/>
        </dgm:presLayoutVars>
      </dgm:prSet>
      <dgm:spPr/>
      <dgm:t>
        <a:bodyPr/>
        <a:lstStyle/>
        <a:p>
          <a:endParaRPr lang="en-GB"/>
        </a:p>
      </dgm:t>
    </dgm:pt>
    <dgm:pt modelId="{030ABF38-24A1-42BE-AA6C-2C7DBA8F85F7}" type="pres">
      <dgm:prSet presAssocID="{060BE215-C3C2-4418-B412-243B33F605BA}" presName="circ3" presStyleLbl="vennNode1" presStyleIdx="2" presStyleCnt="7"/>
      <dgm:spPr/>
    </dgm:pt>
    <dgm:pt modelId="{740DFEF6-47DC-4AB3-942F-72BF90B51195}" type="pres">
      <dgm:prSet presAssocID="{060BE215-C3C2-4418-B412-243B33F605BA}" presName="circ3Tx" presStyleLbl="revTx" presStyleIdx="0" presStyleCnt="0">
        <dgm:presLayoutVars>
          <dgm:chMax val="0"/>
          <dgm:chPref val="0"/>
          <dgm:bulletEnabled val="1"/>
        </dgm:presLayoutVars>
      </dgm:prSet>
      <dgm:spPr/>
      <dgm:t>
        <a:bodyPr/>
        <a:lstStyle/>
        <a:p>
          <a:endParaRPr lang="en-GB"/>
        </a:p>
      </dgm:t>
    </dgm:pt>
    <dgm:pt modelId="{96ED316C-D738-4195-985D-7C43CAF88056}" type="pres">
      <dgm:prSet presAssocID="{EF5B7926-79C2-42E2-9711-127F26BC665D}" presName="circ4" presStyleLbl="vennNode1" presStyleIdx="3" presStyleCnt="7"/>
      <dgm:spPr/>
    </dgm:pt>
    <dgm:pt modelId="{5C384518-E280-4C18-A6B2-87807C343778}" type="pres">
      <dgm:prSet presAssocID="{EF5B7926-79C2-42E2-9711-127F26BC665D}" presName="circ4Tx" presStyleLbl="revTx" presStyleIdx="0" presStyleCnt="0">
        <dgm:presLayoutVars>
          <dgm:chMax val="0"/>
          <dgm:chPref val="0"/>
          <dgm:bulletEnabled val="1"/>
        </dgm:presLayoutVars>
      </dgm:prSet>
      <dgm:spPr/>
      <dgm:t>
        <a:bodyPr/>
        <a:lstStyle/>
        <a:p>
          <a:endParaRPr lang="en-GB"/>
        </a:p>
      </dgm:t>
    </dgm:pt>
    <dgm:pt modelId="{23644263-BA04-40D5-9AE6-C9D0DC6EBA81}" type="pres">
      <dgm:prSet presAssocID="{1497A3F5-E73B-4E42-8A03-5E28017E9693}" presName="circ5" presStyleLbl="vennNode1" presStyleIdx="4" presStyleCnt="7"/>
      <dgm:spPr/>
    </dgm:pt>
    <dgm:pt modelId="{526A54FA-6F69-4119-B28A-76C1B10152F1}" type="pres">
      <dgm:prSet presAssocID="{1497A3F5-E73B-4E42-8A03-5E28017E9693}" presName="circ5Tx" presStyleLbl="revTx" presStyleIdx="0" presStyleCnt="0">
        <dgm:presLayoutVars>
          <dgm:chMax val="0"/>
          <dgm:chPref val="0"/>
          <dgm:bulletEnabled val="1"/>
        </dgm:presLayoutVars>
      </dgm:prSet>
      <dgm:spPr/>
      <dgm:t>
        <a:bodyPr/>
        <a:lstStyle/>
        <a:p>
          <a:endParaRPr lang="en-GB"/>
        </a:p>
      </dgm:t>
    </dgm:pt>
    <dgm:pt modelId="{E00F5B25-576F-4E3E-8A2F-E02878F57AB0}" type="pres">
      <dgm:prSet presAssocID="{A4E3371D-74BF-4022-8DD2-0952FA3BB50A}" presName="circ6" presStyleLbl="vennNode1" presStyleIdx="5" presStyleCnt="7"/>
      <dgm:spPr/>
    </dgm:pt>
    <dgm:pt modelId="{78D31A43-D2B5-40C0-BF6D-D77263B22C0B}" type="pres">
      <dgm:prSet presAssocID="{A4E3371D-74BF-4022-8DD2-0952FA3BB50A}" presName="circ6Tx" presStyleLbl="revTx" presStyleIdx="0" presStyleCnt="0">
        <dgm:presLayoutVars>
          <dgm:chMax val="0"/>
          <dgm:chPref val="0"/>
          <dgm:bulletEnabled val="1"/>
        </dgm:presLayoutVars>
      </dgm:prSet>
      <dgm:spPr/>
      <dgm:t>
        <a:bodyPr/>
        <a:lstStyle/>
        <a:p>
          <a:endParaRPr lang="en-GB"/>
        </a:p>
      </dgm:t>
    </dgm:pt>
    <dgm:pt modelId="{6A160521-58D1-459E-8D96-2284366E7CDB}" type="pres">
      <dgm:prSet presAssocID="{F6B36E4D-6206-43B2-BC9C-BDD138B3952A}" presName="circ7" presStyleLbl="vennNode1" presStyleIdx="6" presStyleCnt="7"/>
      <dgm:spPr/>
    </dgm:pt>
    <dgm:pt modelId="{52928DBD-538D-4961-B6AF-99F9A7DE307F}" type="pres">
      <dgm:prSet presAssocID="{F6B36E4D-6206-43B2-BC9C-BDD138B3952A}" presName="circ7Tx" presStyleLbl="revTx" presStyleIdx="0" presStyleCnt="0">
        <dgm:presLayoutVars>
          <dgm:chMax val="0"/>
          <dgm:chPref val="0"/>
          <dgm:bulletEnabled val="1"/>
        </dgm:presLayoutVars>
      </dgm:prSet>
      <dgm:spPr/>
      <dgm:t>
        <a:bodyPr/>
        <a:lstStyle/>
        <a:p>
          <a:endParaRPr lang="en-GB"/>
        </a:p>
      </dgm:t>
    </dgm:pt>
  </dgm:ptLst>
  <dgm:cxnLst>
    <dgm:cxn modelId="{88DEA3E2-95D2-45B9-B65C-439C6D99A33C}" srcId="{E1C859E4-9830-43F1-A41C-695278AE4943}" destId="{F2B3D05C-ED55-48A4-BAC8-69BEBACEBAB4}" srcOrd="9" destOrd="0" parTransId="{ED152CD8-FF16-42EB-8148-E7436EFB584E}" sibTransId="{3C2F7AB2-8A10-47F0-8B35-F65181D18981}"/>
    <dgm:cxn modelId="{48536E7C-6FCE-465B-9443-B20584683397}" type="presOf" srcId="{F6B36E4D-6206-43B2-BC9C-BDD138B3952A}" destId="{52928DBD-538D-4961-B6AF-99F9A7DE307F}" srcOrd="0" destOrd="0" presId="urn:microsoft.com/office/officeart/2005/8/layout/venn1"/>
    <dgm:cxn modelId="{1DFA65A9-138E-4485-A978-66C2CF44503B}" srcId="{E1C859E4-9830-43F1-A41C-695278AE4943}" destId="{DF66BB76-8E03-446F-AE09-B51DC43D64AC}" srcOrd="0" destOrd="0" parTransId="{C95BA8D2-D610-4763-83CB-9DE455492E6D}" sibTransId="{BF4F91B9-BE86-4AB0-8DED-88035081AEE4}"/>
    <dgm:cxn modelId="{6D07DF06-53AD-4680-B02E-3D7271D75B31}" type="presOf" srcId="{EF5B7926-79C2-42E2-9711-127F26BC665D}" destId="{5C384518-E280-4C18-A6B2-87807C343778}" srcOrd="0" destOrd="0" presId="urn:microsoft.com/office/officeart/2005/8/layout/venn1"/>
    <dgm:cxn modelId="{0EC53703-539F-468A-9096-C762146E3C64}" type="presOf" srcId="{1497A3F5-E73B-4E42-8A03-5E28017E9693}" destId="{526A54FA-6F69-4119-B28A-76C1B10152F1}" srcOrd="0" destOrd="0" presId="urn:microsoft.com/office/officeart/2005/8/layout/venn1"/>
    <dgm:cxn modelId="{9484FE10-DB27-4AF7-B8F4-1E8BDECA62D5}" type="presOf" srcId="{A4E3371D-74BF-4022-8DD2-0952FA3BB50A}" destId="{78D31A43-D2B5-40C0-BF6D-D77263B22C0B}" srcOrd="0" destOrd="0" presId="urn:microsoft.com/office/officeart/2005/8/layout/venn1"/>
    <dgm:cxn modelId="{B52BEB02-FBF6-43E1-8DA3-14A5BB620D9B}" srcId="{E1C859E4-9830-43F1-A41C-695278AE4943}" destId="{53172468-5F8A-43F2-8103-0BD618FC9C3B}" srcOrd="1" destOrd="0" parTransId="{E090CFFF-E227-4818-A43B-190E1DC66BAE}" sibTransId="{83573AAF-E2A5-48CC-9CCF-08FB47DCE45F}"/>
    <dgm:cxn modelId="{40949194-2DE8-4D3D-A3DD-8571E106ED2A}" srcId="{E1C859E4-9830-43F1-A41C-695278AE4943}" destId="{F6B36E4D-6206-43B2-BC9C-BDD138B3952A}" srcOrd="6" destOrd="0" parTransId="{ACB052EE-4EBB-4BC8-BAD3-12CA65AE0A61}" sibTransId="{54EC1B05-40E9-45A4-9ADC-0F15F5F2FA83}"/>
    <dgm:cxn modelId="{6E73950C-1F9B-4CEB-BE9D-A2EF658576D3}" srcId="{E1C859E4-9830-43F1-A41C-695278AE4943}" destId="{1497A3F5-E73B-4E42-8A03-5E28017E9693}" srcOrd="4" destOrd="0" parTransId="{B033D1AE-ACCF-4624-813E-9CB7D5C26D73}" sibTransId="{36D1F877-667D-4A2E-ADEA-F90D884B9888}"/>
    <dgm:cxn modelId="{5DA0C913-C5B0-4561-B264-D5F98FA8CB7D}" type="presOf" srcId="{DF66BB76-8E03-446F-AE09-B51DC43D64AC}" destId="{EDB4270F-1E43-4B71-A52C-540625CE5D04}" srcOrd="0" destOrd="0" presId="urn:microsoft.com/office/officeart/2005/8/layout/venn1"/>
    <dgm:cxn modelId="{1F574445-E5DF-48D4-B1C5-DE1E468392E3}" type="presOf" srcId="{E1C859E4-9830-43F1-A41C-695278AE4943}" destId="{D2A54B24-EE40-4036-917A-A0047294B86C}" srcOrd="0" destOrd="0" presId="urn:microsoft.com/office/officeart/2005/8/layout/venn1"/>
    <dgm:cxn modelId="{759DE544-50BD-4354-83AD-02612FE74B19}" srcId="{E1C859E4-9830-43F1-A41C-695278AE4943}" destId="{EF5B7926-79C2-42E2-9711-127F26BC665D}" srcOrd="3" destOrd="0" parTransId="{D40FA5FD-0371-4B6F-80EA-4E35C8396A90}" sibTransId="{7ACFCCCB-365F-4E0B-9D10-570CB47B09F0}"/>
    <dgm:cxn modelId="{8430E2EA-3945-41BA-B61D-43DFD6894EC6}" type="presOf" srcId="{53172468-5F8A-43F2-8103-0BD618FC9C3B}" destId="{94C979F5-03E1-4FD8-9FDE-2A77F166D9BB}" srcOrd="0" destOrd="0" presId="urn:microsoft.com/office/officeart/2005/8/layout/venn1"/>
    <dgm:cxn modelId="{01863E3E-D527-4AA1-8F33-BD3FF7543394}" srcId="{E1C859E4-9830-43F1-A41C-695278AE4943}" destId="{4F152CBB-557C-498C-9BF5-8B041A93188C}" srcOrd="7" destOrd="0" parTransId="{98EE1D67-08DF-4AC9-A340-6C7D33CCC3D5}" sibTransId="{17E5F7D3-782E-4E86-A019-C590649F5E2F}"/>
    <dgm:cxn modelId="{2FB19834-AD1D-41F5-9337-8009E0D6369E}" type="presOf" srcId="{060BE215-C3C2-4418-B412-243B33F605BA}" destId="{740DFEF6-47DC-4AB3-942F-72BF90B51195}" srcOrd="0" destOrd="0" presId="urn:microsoft.com/office/officeart/2005/8/layout/venn1"/>
    <dgm:cxn modelId="{AF5F2BC6-D13E-4484-BACF-A7175F09FA00}" srcId="{E1C859E4-9830-43F1-A41C-695278AE4943}" destId="{A4E3371D-74BF-4022-8DD2-0952FA3BB50A}" srcOrd="5" destOrd="0" parTransId="{DB859071-B27F-4F1A-B704-730065764069}" sibTransId="{3D0551DA-E5D4-47DE-B017-16315C025904}"/>
    <dgm:cxn modelId="{6464AE8D-BB2E-4566-9C3A-E30BCDBE46E3}" srcId="{E1C859E4-9830-43F1-A41C-695278AE4943}" destId="{060BE215-C3C2-4418-B412-243B33F605BA}" srcOrd="2" destOrd="0" parTransId="{55EB6E34-89D8-4A26-B253-0B5627B19700}" sibTransId="{62DFDF7E-315F-4ECD-B592-9EA64CACCDA7}"/>
    <dgm:cxn modelId="{E9D6861C-2017-4199-A785-044C2FC359E5}" srcId="{E1C859E4-9830-43F1-A41C-695278AE4943}" destId="{6D41F4C9-30E2-49FE-843A-B8DEC00B8229}" srcOrd="8" destOrd="0" parTransId="{4FC36333-C03B-48F9-95FF-D8C30770ADAA}" sibTransId="{3E7BB55C-DE68-4C34-BAB3-FEADE9B0AEC0}"/>
    <dgm:cxn modelId="{DC539D3C-5B9A-4DCD-B439-F849C82FB390}" type="presParOf" srcId="{D2A54B24-EE40-4036-917A-A0047294B86C}" destId="{F781B997-A6FB-4626-9C9B-28F7BF0937F2}" srcOrd="0" destOrd="0" presId="urn:microsoft.com/office/officeart/2005/8/layout/venn1"/>
    <dgm:cxn modelId="{054F94FA-D121-4AF5-A6E9-7BD29075B1BB}" type="presParOf" srcId="{D2A54B24-EE40-4036-917A-A0047294B86C}" destId="{EDB4270F-1E43-4B71-A52C-540625CE5D04}" srcOrd="1" destOrd="0" presId="urn:microsoft.com/office/officeart/2005/8/layout/venn1"/>
    <dgm:cxn modelId="{D867F127-028D-4F7A-AD98-74BF0408D87B}" type="presParOf" srcId="{D2A54B24-EE40-4036-917A-A0047294B86C}" destId="{BD503479-00CD-46FC-AC13-9CCDA3FD028E}" srcOrd="2" destOrd="0" presId="urn:microsoft.com/office/officeart/2005/8/layout/venn1"/>
    <dgm:cxn modelId="{E1583142-B978-41DB-90F8-97A2E82856F2}" type="presParOf" srcId="{D2A54B24-EE40-4036-917A-A0047294B86C}" destId="{94C979F5-03E1-4FD8-9FDE-2A77F166D9BB}" srcOrd="3" destOrd="0" presId="urn:microsoft.com/office/officeart/2005/8/layout/venn1"/>
    <dgm:cxn modelId="{6419A390-1589-49E3-ACAA-F3D0F830E606}" type="presParOf" srcId="{D2A54B24-EE40-4036-917A-A0047294B86C}" destId="{030ABF38-24A1-42BE-AA6C-2C7DBA8F85F7}" srcOrd="4" destOrd="0" presId="urn:microsoft.com/office/officeart/2005/8/layout/venn1"/>
    <dgm:cxn modelId="{0A8E64A9-46E3-47C0-BD6A-4DD2B8B4864F}" type="presParOf" srcId="{D2A54B24-EE40-4036-917A-A0047294B86C}" destId="{740DFEF6-47DC-4AB3-942F-72BF90B51195}" srcOrd="5" destOrd="0" presId="urn:microsoft.com/office/officeart/2005/8/layout/venn1"/>
    <dgm:cxn modelId="{5507E4AA-57F0-41E7-9C34-C9AA3A754E28}" type="presParOf" srcId="{D2A54B24-EE40-4036-917A-A0047294B86C}" destId="{96ED316C-D738-4195-985D-7C43CAF88056}" srcOrd="6" destOrd="0" presId="urn:microsoft.com/office/officeart/2005/8/layout/venn1"/>
    <dgm:cxn modelId="{FC65293E-0EC0-47E4-A83E-B6D23B81C0C4}" type="presParOf" srcId="{D2A54B24-EE40-4036-917A-A0047294B86C}" destId="{5C384518-E280-4C18-A6B2-87807C343778}" srcOrd="7" destOrd="0" presId="urn:microsoft.com/office/officeart/2005/8/layout/venn1"/>
    <dgm:cxn modelId="{5E71FB0F-D073-4438-BD2E-AFF79EBD29A9}" type="presParOf" srcId="{D2A54B24-EE40-4036-917A-A0047294B86C}" destId="{23644263-BA04-40D5-9AE6-C9D0DC6EBA81}" srcOrd="8" destOrd="0" presId="urn:microsoft.com/office/officeart/2005/8/layout/venn1"/>
    <dgm:cxn modelId="{90D10E23-BBDA-412A-B123-D88B3C340E81}" type="presParOf" srcId="{D2A54B24-EE40-4036-917A-A0047294B86C}" destId="{526A54FA-6F69-4119-B28A-76C1B10152F1}" srcOrd="9" destOrd="0" presId="urn:microsoft.com/office/officeart/2005/8/layout/venn1"/>
    <dgm:cxn modelId="{73CE26DB-9D45-4D32-A00F-50F654D741B6}" type="presParOf" srcId="{D2A54B24-EE40-4036-917A-A0047294B86C}" destId="{E00F5B25-576F-4E3E-8A2F-E02878F57AB0}" srcOrd="10" destOrd="0" presId="urn:microsoft.com/office/officeart/2005/8/layout/venn1"/>
    <dgm:cxn modelId="{F0802E5D-D8A7-4C7E-A792-00BF2C7FEA84}" type="presParOf" srcId="{D2A54B24-EE40-4036-917A-A0047294B86C}" destId="{78D31A43-D2B5-40C0-BF6D-D77263B22C0B}" srcOrd="11" destOrd="0" presId="urn:microsoft.com/office/officeart/2005/8/layout/venn1"/>
    <dgm:cxn modelId="{9A94B9D4-A1E8-4BDD-B307-9070043C6A9C}" type="presParOf" srcId="{D2A54B24-EE40-4036-917A-A0047294B86C}" destId="{6A160521-58D1-459E-8D96-2284366E7CDB}" srcOrd="12" destOrd="0" presId="urn:microsoft.com/office/officeart/2005/8/layout/venn1"/>
    <dgm:cxn modelId="{6692434A-1049-4C27-AD74-08C5BA166CA5}" type="presParOf" srcId="{D2A54B24-EE40-4036-917A-A0047294B86C}" destId="{52928DBD-538D-4961-B6AF-99F9A7DE307F}" srcOrd="1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E9D083-BBDC-4E38-A1F0-CC23756B42E2}">
      <dsp:nvSpPr>
        <dsp:cNvPr id="0" name=""/>
        <dsp:cNvSpPr/>
      </dsp:nvSpPr>
      <dsp:spPr>
        <a:xfrm>
          <a:off x="3795" y="0"/>
          <a:ext cx="7764809" cy="110172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rtl="0">
            <a:lnSpc>
              <a:spcPct val="90000"/>
            </a:lnSpc>
            <a:spcBef>
              <a:spcPct val="0"/>
            </a:spcBef>
            <a:spcAft>
              <a:spcPct val="35000"/>
            </a:spcAft>
          </a:pPr>
          <a:r>
            <a:rPr lang="en-US" sz="2600" kern="1200" dirty="0" smtClean="0"/>
            <a:t>Partnership working to achieve successful Health Board-Wide Hepatitis B Partner Notification Outcomes</a:t>
          </a:r>
          <a:endParaRPr lang="en-GB" sz="2600" kern="1200" dirty="0"/>
        </a:p>
      </dsp:txBody>
      <dsp:txXfrm>
        <a:off x="36063" y="32268"/>
        <a:ext cx="7700273" cy="10371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FB7EB9-DB1F-4B77-8916-C06FCEF6789F}">
      <dsp:nvSpPr>
        <dsp:cNvPr id="0" name=""/>
        <dsp:cNvSpPr/>
      </dsp:nvSpPr>
      <dsp:spPr>
        <a:xfrm>
          <a:off x="0" y="2615256"/>
          <a:ext cx="7772400" cy="572154"/>
        </a:xfrm>
        <a:prstGeom prst="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r>
            <a:rPr lang="en-GB" sz="1900" kern="1200" dirty="0" smtClean="0"/>
            <a:t>Ensuring adherence to local and national protocols, policies and guidelines</a:t>
          </a:r>
          <a:endParaRPr lang="en-GB" sz="1900" kern="1200" dirty="0"/>
        </a:p>
      </dsp:txBody>
      <dsp:txXfrm>
        <a:off x="0" y="2615256"/>
        <a:ext cx="7772400" cy="572154"/>
      </dsp:txXfrm>
    </dsp:sp>
    <dsp:sp modelId="{89C8B4BD-A80B-4D95-A8F2-EAF1F80C4B2F}">
      <dsp:nvSpPr>
        <dsp:cNvPr id="0" name=""/>
        <dsp:cNvSpPr/>
      </dsp:nvSpPr>
      <dsp:spPr>
        <a:xfrm rot="10800000">
          <a:off x="0" y="1743865"/>
          <a:ext cx="7772400" cy="879973"/>
        </a:xfrm>
        <a:prstGeom prst="upArrowCallou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r>
            <a:rPr lang="en-GB" sz="1900" kern="1200" dirty="0" smtClean="0"/>
            <a:t>Flexible response dictated by testing service preferences and requirements</a:t>
          </a:r>
          <a:endParaRPr lang="en-GB" sz="1900" kern="1200" dirty="0"/>
        </a:p>
      </dsp:txBody>
      <dsp:txXfrm rot="10800000">
        <a:off x="0" y="1743865"/>
        <a:ext cx="7772400" cy="571780"/>
      </dsp:txXfrm>
    </dsp:sp>
    <dsp:sp modelId="{722F1A67-1DC9-45FE-8BD6-606A2BCACBB4}">
      <dsp:nvSpPr>
        <dsp:cNvPr id="0" name=""/>
        <dsp:cNvSpPr/>
      </dsp:nvSpPr>
      <dsp:spPr>
        <a:xfrm rot="10800000">
          <a:off x="0" y="872474"/>
          <a:ext cx="7772400" cy="879973"/>
        </a:xfrm>
        <a:prstGeom prst="upArrowCallou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r>
            <a:rPr lang="en-GB" sz="1900" kern="1200" dirty="0" smtClean="0"/>
            <a:t>SCSS SHAs contact testing clinician to offer help and support</a:t>
          </a:r>
          <a:endParaRPr lang="en-GB" sz="1900" kern="1200" dirty="0"/>
        </a:p>
      </dsp:txBody>
      <dsp:txXfrm rot="10800000">
        <a:off x="0" y="872474"/>
        <a:ext cx="7772400" cy="571780"/>
      </dsp:txXfrm>
    </dsp:sp>
    <dsp:sp modelId="{85D563E9-C076-44DD-A313-9F6706ED4EC2}">
      <dsp:nvSpPr>
        <dsp:cNvPr id="0" name=""/>
        <dsp:cNvSpPr/>
      </dsp:nvSpPr>
      <dsp:spPr>
        <a:xfrm rot="10800000">
          <a:off x="0" y="1083"/>
          <a:ext cx="7772400" cy="879973"/>
        </a:xfrm>
        <a:prstGeom prst="upArrowCallou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135128" tIns="135128" rIns="135128" bIns="135128" numCol="1" spcCol="1270" anchor="ctr" anchorCtr="0">
          <a:noAutofit/>
        </a:bodyPr>
        <a:lstStyle/>
        <a:p>
          <a:pPr lvl="0" algn="ctr" defTabSz="844550" rtl="0">
            <a:lnSpc>
              <a:spcPct val="90000"/>
            </a:lnSpc>
            <a:spcBef>
              <a:spcPct val="0"/>
            </a:spcBef>
            <a:spcAft>
              <a:spcPct val="35000"/>
            </a:spcAft>
          </a:pPr>
          <a:r>
            <a:rPr lang="en-GB" sz="1900" kern="1200" dirty="0" smtClean="0"/>
            <a:t>Lab sends copies of positive HBV </a:t>
          </a:r>
          <a:r>
            <a:rPr lang="en-GB" sz="1900" kern="1200" dirty="0" err="1" smtClean="0"/>
            <a:t>sAg</a:t>
          </a:r>
          <a:r>
            <a:rPr lang="en-GB" sz="1900" kern="1200" dirty="0" smtClean="0"/>
            <a:t> results to SCSS</a:t>
          </a:r>
          <a:endParaRPr lang="en-GB" sz="1900" kern="1200" dirty="0"/>
        </a:p>
      </dsp:txBody>
      <dsp:txXfrm rot="10800000">
        <a:off x="0" y="1083"/>
        <a:ext cx="7772400" cy="5717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72AEB9-6C28-411D-AAD9-0B03D463AE32}">
      <dsp:nvSpPr>
        <dsp:cNvPr id="0" name=""/>
        <dsp:cNvSpPr/>
      </dsp:nvSpPr>
      <dsp:spPr>
        <a:xfrm>
          <a:off x="0" y="0"/>
          <a:ext cx="6048672" cy="681195"/>
        </a:xfrm>
        <a:prstGeom prst="roundRect">
          <a:avLst>
            <a:gd name="adj" fmla="val 1000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GB" sz="2000" kern="1200" dirty="0" smtClean="0"/>
            <a:t>Robust failsafe system for all positive HBV </a:t>
          </a:r>
          <a:r>
            <a:rPr lang="en-GB" sz="2000" kern="1200" dirty="0" err="1" smtClean="0"/>
            <a:t>sAg</a:t>
          </a:r>
          <a:r>
            <a:rPr lang="en-GB" sz="2000" kern="1200" dirty="0" smtClean="0"/>
            <a:t> cases</a:t>
          </a:r>
          <a:endParaRPr lang="en-GB" sz="2000" kern="1200" dirty="0"/>
        </a:p>
      </dsp:txBody>
      <dsp:txXfrm>
        <a:off x="19952" y="19952"/>
        <a:ext cx="5256046" cy="641291"/>
      </dsp:txXfrm>
    </dsp:sp>
    <dsp:sp modelId="{054E9118-DF63-43F8-8BCD-557C3640621A}">
      <dsp:nvSpPr>
        <dsp:cNvPr id="0" name=""/>
        <dsp:cNvSpPr/>
      </dsp:nvSpPr>
      <dsp:spPr>
        <a:xfrm>
          <a:off x="506576" y="805049"/>
          <a:ext cx="6048672" cy="681195"/>
        </a:xfrm>
        <a:prstGeom prst="roundRect">
          <a:avLst>
            <a:gd name="adj" fmla="val 1000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GB" sz="2000" kern="1200" dirty="0" smtClean="0"/>
            <a:t>All Practitioners offered support</a:t>
          </a:r>
          <a:endParaRPr lang="en-GB" sz="2000" kern="1200" dirty="0"/>
        </a:p>
      </dsp:txBody>
      <dsp:txXfrm>
        <a:off x="526528" y="825001"/>
        <a:ext cx="5059414" cy="641291"/>
      </dsp:txXfrm>
    </dsp:sp>
    <dsp:sp modelId="{F3054800-B4CF-4D3C-9661-057C3D57DFD1}">
      <dsp:nvSpPr>
        <dsp:cNvPr id="0" name=""/>
        <dsp:cNvSpPr/>
      </dsp:nvSpPr>
      <dsp:spPr>
        <a:xfrm>
          <a:off x="1005591" y="1610098"/>
          <a:ext cx="6048672" cy="681195"/>
        </a:xfrm>
        <a:prstGeom prst="roundRect">
          <a:avLst>
            <a:gd name="adj" fmla="val 1000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GB" sz="2000" kern="1200" dirty="0" smtClean="0"/>
            <a:t>All patients referred appropriately to specialist services</a:t>
          </a:r>
          <a:endParaRPr lang="en-GB" sz="2000" kern="1200" dirty="0"/>
        </a:p>
      </dsp:txBody>
      <dsp:txXfrm>
        <a:off x="1025543" y="1630050"/>
        <a:ext cx="5066975" cy="641291"/>
      </dsp:txXfrm>
    </dsp:sp>
    <dsp:sp modelId="{F59E793E-234E-4905-8F99-8DFBA40818CC}">
      <dsp:nvSpPr>
        <dsp:cNvPr id="0" name=""/>
        <dsp:cNvSpPr/>
      </dsp:nvSpPr>
      <dsp:spPr>
        <a:xfrm>
          <a:off x="1512167" y="2415148"/>
          <a:ext cx="6048672" cy="681195"/>
        </a:xfrm>
        <a:prstGeom prst="roundRect">
          <a:avLst>
            <a:gd name="adj" fmla="val 1000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GB" sz="2000" kern="1200" dirty="0" smtClean="0"/>
            <a:t>All partner notification/contact tracing issues are addressed</a:t>
          </a:r>
          <a:endParaRPr lang="en-GB" sz="2000" kern="1200" dirty="0"/>
        </a:p>
      </dsp:txBody>
      <dsp:txXfrm>
        <a:off x="1532119" y="2435100"/>
        <a:ext cx="5059414" cy="641291"/>
      </dsp:txXfrm>
    </dsp:sp>
    <dsp:sp modelId="{93A48190-119C-4888-9E7C-4842F32C62D6}">
      <dsp:nvSpPr>
        <dsp:cNvPr id="0" name=""/>
        <dsp:cNvSpPr/>
      </dsp:nvSpPr>
      <dsp:spPr>
        <a:xfrm>
          <a:off x="5605894" y="521733"/>
          <a:ext cx="442777" cy="442777"/>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GB" sz="2000" kern="1200"/>
        </a:p>
      </dsp:txBody>
      <dsp:txXfrm>
        <a:off x="5705519" y="521733"/>
        <a:ext cx="243527" cy="333190"/>
      </dsp:txXfrm>
    </dsp:sp>
    <dsp:sp modelId="{54601203-F63C-460A-A334-25706EFC1AEC}">
      <dsp:nvSpPr>
        <dsp:cNvPr id="0" name=""/>
        <dsp:cNvSpPr/>
      </dsp:nvSpPr>
      <dsp:spPr>
        <a:xfrm>
          <a:off x="6112471" y="1326783"/>
          <a:ext cx="442777" cy="442777"/>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GB" sz="2000" kern="1200"/>
        </a:p>
      </dsp:txBody>
      <dsp:txXfrm>
        <a:off x="6212096" y="1326783"/>
        <a:ext cx="243527" cy="333190"/>
      </dsp:txXfrm>
    </dsp:sp>
    <dsp:sp modelId="{DFFD6D7D-6385-468A-9655-FAAF19AD7CB1}">
      <dsp:nvSpPr>
        <dsp:cNvPr id="0" name=""/>
        <dsp:cNvSpPr/>
      </dsp:nvSpPr>
      <dsp:spPr>
        <a:xfrm>
          <a:off x="6611486" y="2131832"/>
          <a:ext cx="442777" cy="442777"/>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GB" sz="2000" kern="1200"/>
        </a:p>
      </dsp:txBody>
      <dsp:txXfrm>
        <a:off x="6711111" y="2131832"/>
        <a:ext cx="243527" cy="3331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E30D29-4692-45DE-91A4-6229D19BF130}">
      <dsp:nvSpPr>
        <dsp:cNvPr id="0" name=""/>
        <dsp:cNvSpPr/>
      </dsp:nvSpPr>
      <dsp:spPr>
        <a:xfrm>
          <a:off x="3795" y="0"/>
          <a:ext cx="7764809" cy="110251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rtl="0">
            <a:lnSpc>
              <a:spcPct val="90000"/>
            </a:lnSpc>
            <a:spcBef>
              <a:spcPct val="0"/>
            </a:spcBef>
            <a:spcAft>
              <a:spcPct val="35000"/>
            </a:spcAft>
          </a:pPr>
          <a:r>
            <a:rPr lang="en-GB" sz="2900" kern="1200" dirty="0" smtClean="0"/>
            <a:t>Audit Period 1</a:t>
          </a:r>
          <a:r>
            <a:rPr lang="en-GB" sz="2900" kern="1200" baseline="30000" dirty="0" smtClean="0"/>
            <a:t>st</a:t>
          </a:r>
          <a:r>
            <a:rPr lang="en-GB" sz="2900" kern="1200" dirty="0" smtClean="0"/>
            <a:t> September 2012 – 31</a:t>
          </a:r>
          <a:r>
            <a:rPr lang="en-GB" sz="2900" kern="1200" baseline="30000" dirty="0" smtClean="0"/>
            <a:t>st</a:t>
          </a:r>
          <a:r>
            <a:rPr lang="en-GB" sz="2900" kern="1200" dirty="0" smtClean="0"/>
            <a:t> December 2015</a:t>
          </a:r>
          <a:endParaRPr lang="en-GB" sz="2900" kern="1200" dirty="0"/>
        </a:p>
      </dsp:txBody>
      <dsp:txXfrm>
        <a:off x="36087" y="32292"/>
        <a:ext cx="7700225" cy="103793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10FB62-2DBC-49EC-B79D-B234234B56EA}">
      <dsp:nvSpPr>
        <dsp:cNvPr id="0" name=""/>
        <dsp:cNvSpPr/>
      </dsp:nvSpPr>
      <dsp:spPr>
        <a:xfrm>
          <a:off x="3795" y="0"/>
          <a:ext cx="7764809" cy="110251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rtl="0">
            <a:lnSpc>
              <a:spcPct val="90000"/>
            </a:lnSpc>
            <a:spcBef>
              <a:spcPct val="0"/>
            </a:spcBef>
            <a:spcAft>
              <a:spcPct val="35000"/>
            </a:spcAft>
          </a:pPr>
          <a:r>
            <a:rPr lang="en-GB" sz="3200" kern="1200" dirty="0" smtClean="0"/>
            <a:t>Reported Cases – Sources and Characteristics</a:t>
          </a:r>
          <a:endParaRPr lang="en-GB" sz="3200" kern="1200" dirty="0"/>
        </a:p>
      </dsp:txBody>
      <dsp:txXfrm>
        <a:off x="36087" y="32292"/>
        <a:ext cx="7700225" cy="10379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99B41C-4D5C-4F4D-8399-6F9D8C91959D}">
      <dsp:nvSpPr>
        <dsp:cNvPr id="0" name=""/>
        <dsp:cNvSpPr/>
      </dsp:nvSpPr>
      <dsp:spPr>
        <a:xfrm>
          <a:off x="773" y="0"/>
          <a:ext cx="1582628" cy="36933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rtl="0">
            <a:lnSpc>
              <a:spcPct val="90000"/>
            </a:lnSpc>
            <a:spcBef>
              <a:spcPct val="0"/>
            </a:spcBef>
            <a:spcAft>
              <a:spcPct val="35000"/>
            </a:spcAft>
          </a:pPr>
          <a:r>
            <a:rPr lang="en-GB" sz="1600" kern="1200" dirty="0" smtClean="0"/>
            <a:t>Total = 710</a:t>
          </a:r>
          <a:endParaRPr lang="en-GB" sz="1600" kern="1200" dirty="0"/>
        </a:p>
      </dsp:txBody>
      <dsp:txXfrm>
        <a:off x="11590" y="10817"/>
        <a:ext cx="1560994" cy="34769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099CC0-1215-4275-8076-11C1EFD64A8B}">
      <dsp:nvSpPr>
        <dsp:cNvPr id="0" name=""/>
        <dsp:cNvSpPr/>
      </dsp:nvSpPr>
      <dsp:spPr>
        <a:xfrm>
          <a:off x="617219" y="0"/>
          <a:ext cx="6995160" cy="3394075"/>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6EF104D-9AD3-41BB-8131-385762F0DFC2}">
      <dsp:nvSpPr>
        <dsp:cNvPr id="0" name=""/>
        <dsp:cNvSpPr/>
      </dsp:nvSpPr>
      <dsp:spPr>
        <a:xfrm>
          <a:off x="6178" y="1018222"/>
          <a:ext cx="1897293" cy="13576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rtl="0">
            <a:lnSpc>
              <a:spcPct val="90000"/>
            </a:lnSpc>
            <a:spcBef>
              <a:spcPct val="0"/>
            </a:spcBef>
            <a:spcAft>
              <a:spcPct val="35000"/>
            </a:spcAft>
          </a:pPr>
          <a:r>
            <a:rPr lang="en-GB" sz="1900" kern="1200" dirty="0" smtClean="0"/>
            <a:t>Informed</a:t>
          </a:r>
          <a:endParaRPr lang="en-GB" sz="1900" kern="1200" dirty="0"/>
        </a:p>
      </dsp:txBody>
      <dsp:txXfrm>
        <a:off x="72452" y="1084496"/>
        <a:ext cx="1764745" cy="1225082"/>
      </dsp:txXfrm>
    </dsp:sp>
    <dsp:sp modelId="{538079F3-423F-4B07-ACA7-DD8F710C7DD8}">
      <dsp:nvSpPr>
        <dsp:cNvPr id="0" name=""/>
        <dsp:cNvSpPr/>
      </dsp:nvSpPr>
      <dsp:spPr>
        <a:xfrm>
          <a:off x="2112828" y="1018222"/>
          <a:ext cx="1897293" cy="13576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t" anchorCtr="0">
          <a:noAutofit/>
        </a:bodyPr>
        <a:lstStyle/>
        <a:p>
          <a:pPr lvl="0" algn="l" defTabSz="844550" rtl="0">
            <a:lnSpc>
              <a:spcPct val="90000"/>
            </a:lnSpc>
            <a:spcBef>
              <a:spcPct val="0"/>
            </a:spcBef>
            <a:spcAft>
              <a:spcPct val="35000"/>
            </a:spcAft>
          </a:pPr>
          <a:endParaRPr lang="en-GB" sz="1900" kern="1200" dirty="0" smtClean="0"/>
        </a:p>
        <a:p>
          <a:pPr lvl="0" algn="l" defTabSz="844550" rtl="0">
            <a:lnSpc>
              <a:spcPct val="90000"/>
            </a:lnSpc>
            <a:spcBef>
              <a:spcPct val="0"/>
            </a:spcBef>
            <a:spcAft>
              <a:spcPct val="35000"/>
            </a:spcAft>
          </a:pPr>
          <a:r>
            <a:rPr lang="en-GB" sz="1900" kern="1200" dirty="0" smtClean="0"/>
            <a:t>Tested</a:t>
          </a:r>
          <a:endParaRPr lang="en-GB" sz="1900" kern="1200" dirty="0"/>
        </a:p>
        <a:p>
          <a:pPr marL="114300" lvl="1" indent="-114300" algn="l" defTabSz="666750" rtl="0">
            <a:lnSpc>
              <a:spcPct val="90000"/>
            </a:lnSpc>
            <a:spcBef>
              <a:spcPct val="0"/>
            </a:spcBef>
            <a:spcAft>
              <a:spcPct val="15000"/>
            </a:spcAft>
            <a:buChar char="••"/>
          </a:pPr>
          <a:r>
            <a:rPr lang="en-GB" sz="1500" kern="1200" dirty="0" smtClean="0"/>
            <a:t> and result</a:t>
          </a:r>
          <a:endParaRPr lang="en-GB" sz="1500" kern="1200" dirty="0"/>
        </a:p>
      </dsp:txBody>
      <dsp:txXfrm>
        <a:off x="2179102" y="1084496"/>
        <a:ext cx="1764745" cy="1225082"/>
      </dsp:txXfrm>
    </dsp:sp>
    <dsp:sp modelId="{7C9CC6DC-C93F-4D09-B13F-BADFB14CD132}">
      <dsp:nvSpPr>
        <dsp:cNvPr id="0" name=""/>
        <dsp:cNvSpPr/>
      </dsp:nvSpPr>
      <dsp:spPr>
        <a:xfrm>
          <a:off x="4219478" y="1018222"/>
          <a:ext cx="1897293" cy="13576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rtl="0">
            <a:lnSpc>
              <a:spcPct val="90000"/>
            </a:lnSpc>
            <a:spcBef>
              <a:spcPct val="0"/>
            </a:spcBef>
            <a:spcAft>
              <a:spcPct val="35000"/>
            </a:spcAft>
          </a:pPr>
          <a:r>
            <a:rPr lang="en-GB" sz="1900" kern="1200" dirty="0" smtClean="0"/>
            <a:t>Outcome (e.g. vaccinated, immune, referred)</a:t>
          </a:r>
          <a:endParaRPr lang="en-GB" sz="1900" kern="1200" dirty="0"/>
        </a:p>
      </dsp:txBody>
      <dsp:txXfrm>
        <a:off x="4285752" y="1084496"/>
        <a:ext cx="1764745" cy="1225082"/>
      </dsp:txXfrm>
    </dsp:sp>
    <dsp:sp modelId="{6CF18B56-CBA1-4A9B-ADC5-BAC666751C14}">
      <dsp:nvSpPr>
        <dsp:cNvPr id="0" name=""/>
        <dsp:cNvSpPr/>
      </dsp:nvSpPr>
      <dsp:spPr>
        <a:xfrm>
          <a:off x="6326128" y="1018222"/>
          <a:ext cx="1897293" cy="13576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rtl="0">
            <a:lnSpc>
              <a:spcPct val="90000"/>
            </a:lnSpc>
            <a:spcBef>
              <a:spcPct val="0"/>
            </a:spcBef>
            <a:spcAft>
              <a:spcPct val="35000"/>
            </a:spcAft>
          </a:pPr>
          <a:r>
            <a:rPr lang="en-GB" sz="1900" kern="1200" dirty="0" smtClean="0"/>
            <a:t>Verification</a:t>
          </a:r>
          <a:endParaRPr lang="en-GB" sz="1900" kern="1200" dirty="0"/>
        </a:p>
      </dsp:txBody>
      <dsp:txXfrm>
        <a:off x="6392402" y="1084496"/>
        <a:ext cx="1764745" cy="122508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225E2-5A0B-4F49-9A8F-CB33A2B2371D}">
      <dsp:nvSpPr>
        <dsp:cNvPr id="0" name=""/>
        <dsp:cNvSpPr/>
      </dsp:nvSpPr>
      <dsp:spPr>
        <a:xfrm>
          <a:off x="4410114" y="-142012"/>
          <a:ext cx="1259556" cy="1259556"/>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12700" tIns="12700" rIns="12700" bIns="12700" numCol="1" spcCol="1270" anchor="ctr" anchorCtr="0">
          <a:noAutofit/>
        </a:bodyPr>
        <a:lstStyle/>
        <a:p>
          <a:pPr lvl="0" algn="ctr" defTabSz="444500" rtl="0">
            <a:lnSpc>
              <a:spcPct val="90000"/>
            </a:lnSpc>
            <a:spcBef>
              <a:spcPct val="0"/>
            </a:spcBef>
            <a:spcAft>
              <a:spcPct val="35000"/>
            </a:spcAft>
          </a:pPr>
          <a:r>
            <a:rPr lang="en-GB" sz="1000" b="1" kern="1200" dirty="0" smtClean="0"/>
            <a:t>Clinical notes/summaries written by HCWs on shared electronic records</a:t>
          </a:r>
          <a:endParaRPr lang="en-GB" sz="1000" b="1" kern="1200" dirty="0"/>
        </a:p>
      </dsp:txBody>
      <dsp:txXfrm>
        <a:off x="4410114" y="-142012"/>
        <a:ext cx="1259556" cy="1259556"/>
      </dsp:txXfrm>
    </dsp:sp>
    <dsp:sp modelId="{9241D661-3FAD-477A-85FC-4E53B52DDFD6}">
      <dsp:nvSpPr>
        <dsp:cNvPr id="0" name=""/>
        <dsp:cNvSpPr/>
      </dsp:nvSpPr>
      <dsp:spPr>
        <a:xfrm>
          <a:off x="2341027" y="-12725"/>
          <a:ext cx="3547545" cy="3547545"/>
        </a:xfrm>
        <a:prstGeom prst="circularArrow">
          <a:avLst>
            <a:gd name="adj1" fmla="val 5202"/>
            <a:gd name="adj2" fmla="val 336026"/>
            <a:gd name="adj3" fmla="val 20950252"/>
            <a:gd name="adj4" fmla="val 20151973"/>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376C69-7C5B-42A2-97D4-6AEA2EF4C5AF}">
      <dsp:nvSpPr>
        <dsp:cNvPr id="0" name=""/>
        <dsp:cNvSpPr/>
      </dsp:nvSpPr>
      <dsp:spPr>
        <a:xfrm>
          <a:off x="4981853" y="1617618"/>
          <a:ext cx="1259556" cy="1259556"/>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12700" tIns="12700" rIns="12700" bIns="12700" numCol="1" spcCol="1270" anchor="ctr" anchorCtr="0">
          <a:noAutofit/>
        </a:bodyPr>
        <a:lstStyle/>
        <a:p>
          <a:pPr lvl="0" algn="ctr" defTabSz="444500" rtl="0">
            <a:lnSpc>
              <a:spcPct val="90000"/>
            </a:lnSpc>
            <a:spcBef>
              <a:spcPct val="0"/>
            </a:spcBef>
            <a:spcAft>
              <a:spcPct val="35000"/>
            </a:spcAft>
          </a:pPr>
          <a:r>
            <a:rPr lang="en-GB" sz="1000" b="1" kern="1200" dirty="0" smtClean="0"/>
            <a:t>Verbal – Patient/Partner/Staff</a:t>
          </a:r>
          <a:endParaRPr lang="en-GB" sz="1000" b="1" kern="1200" dirty="0"/>
        </a:p>
      </dsp:txBody>
      <dsp:txXfrm>
        <a:off x="4981853" y="1617618"/>
        <a:ext cx="1259556" cy="1259556"/>
      </dsp:txXfrm>
    </dsp:sp>
    <dsp:sp modelId="{D06EC93A-844C-4C0F-A375-0B6FB18C10E7}">
      <dsp:nvSpPr>
        <dsp:cNvPr id="0" name=""/>
        <dsp:cNvSpPr/>
      </dsp:nvSpPr>
      <dsp:spPr>
        <a:xfrm>
          <a:off x="2341027" y="-12725"/>
          <a:ext cx="3547545" cy="3547545"/>
        </a:xfrm>
        <a:prstGeom prst="circularArrow">
          <a:avLst>
            <a:gd name="adj1" fmla="val 5202"/>
            <a:gd name="adj2" fmla="val 336026"/>
            <a:gd name="adj3" fmla="val 3648726"/>
            <a:gd name="adj4" fmla="val 2710023"/>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1A6DC21-D2B3-4562-A7AC-EF90F1B76BFE}">
      <dsp:nvSpPr>
        <dsp:cNvPr id="0" name=""/>
        <dsp:cNvSpPr/>
      </dsp:nvSpPr>
      <dsp:spPr>
        <a:xfrm>
          <a:off x="3485021" y="2705130"/>
          <a:ext cx="1259556" cy="1259556"/>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12700" tIns="12700" rIns="12700" bIns="12700" numCol="1" spcCol="1270" anchor="ctr" anchorCtr="0">
          <a:noAutofit/>
        </a:bodyPr>
        <a:lstStyle/>
        <a:p>
          <a:pPr lvl="0" algn="ctr" defTabSz="444500" rtl="0">
            <a:lnSpc>
              <a:spcPct val="90000"/>
            </a:lnSpc>
            <a:spcBef>
              <a:spcPct val="0"/>
            </a:spcBef>
            <a:spcAft>
              <a:spcPct val="35000"/>
            </a:spcAft>
          </a:pPr>
          <a:r>
            <a:rPr lang="en-GB" sz="1000" b="1" kern="1200" dirty="0" smtClean="0"/>
            <a:t>Colleagues/Records at </a:t>
          </a:r>
          <a:r>
            <a:rPr lang="en-GB" sz="1000" b="1" kern="1200" dirty="0" err="1" smtClean="0"/>
            <a:t>Sandyford</a:t>
          </a:r>
          <a:r>
            <a:rPr lang="en-GB" sz="1000" b="1" kern="1200" dirty="0" smtClean="0"/>
            <a:t> – index/partner attendance</a:t>
          </a:r>
          <a:endParaRPr lang="en-GB" sz="1000" b="1" kern="1200" dirty="0"/>
        </a:p>
      </dsp:txBody>
      <dsp:txXfrm>
        <a:off x="3485021" y="2705130"/>
        <a:ext cx="1259556" cy="1259556"/>
      </dsp:txXfrm>
    </dsp:sp>
    <dsp:sp modelId="{6305CCA2-77D2-4907-B5B9-338E47CC2933}">
      <dsp:nvSpPr>
        <dsp:cNvPr id="0" name=""/>
        <dsp:cNvSpPr/>
      </dsp:nvSpPr>
      <dsp:spPr>
        <a:xfrm>
          <a:off x="2341027" y="-12725"/>
          <a:ext cx="3547545" cy="3547545"/>
        </a:xfrm>
        <a:prstGeom prst="circularArrow">
          <a:avLst>
            <a:gd name="adj1" fmla="val 5202"/>
            <a:gd name="adj2" fmla="val 336026"/>
            <a:gd name="adj3" fmla="val 7753950"/>
            <a:gd name="adj4" fmla="val 6815248"/>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321EB2B-5312-40F7-8081-0A4850E34A6F}">
      <dsp:nvSpPr>
        <dsp:cNvPr id="0" name=""/>
        <dsp:cNvSpPr/>
      </dsp:nvSpPr>
      <dsp:spPr>
        <a:xfrm>
          <a:off x="1988190" y="1617618"/>
          <a:ext cx="1259556" cy="1259556"/>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12700" tIns="12700" rIns="12700" bIns="12700" numCol="1" spcCol="1270" anchor="ctr" anchorCtr="0">
          <a:noAutofit/>
        </a:bodyPr>
        <a:lstStyle/>
        <a:p>
          <a:pPr lvl="0" algn="ctr" defTabSz="444500" rtl="0">
            <a:lnSpc>
              <a:spcPct val="90000"/>
            </a:lnSpc>
            <a:spcBef>
              <a:spcPct val="0"/>
            </a:spcBef>
            <a:spcAft>
              <a:spcPct val="35000"/>
            </a:spcAft>
          </a:pPr>
          <a:r>
            <a:rPr lang="en-GB" sz="1000" b="1" kern="1200" smtClean="0"/>
            <a:t>Address searching (Trakcare or via GP)</a:t>
          </a:r>
          <a:endParaRPr lang="en-GB" sz="1000" b="1" kern="1200" dirty="0"/>
        </a:p>
      </dsp:txBody>
      <dsp:txXfrm>
        <a:off x="1988190" y="1617618"/>
        <a:ext cx="1259556" cy="1259556"/>
      </dsp:txXfrm>
    </dsp:sp>
    <dsp:sp modelId="{D8A6CD87-66AE-4E2F-9F7B-E87DC1373EA0}">
      <dsp:nvSpPr>
        <dsp:cNvPr id="0" name=""/>
        <dsp:cNvSpPr/>
      </dsp:nvSpPr>
      <dsp:spPr>
        <a:xfrm>
          <a:off x="2341027" y="-12725"/>
          <a:ext cx="3547545" cy="3547545"/>
        </a:xfrm>
        <a:prstGeom prst="circularArrow">
          <a:avLst>
            <a:gd name="adj1" fmla="val 5202"/>
            <a:gd name="adj2" fmla="val 336026"/>
            <a:gd name="adj3" fmla="val 11912000"/>
            <a:gd name="adj4" fmla="val 11113722"/>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F5555F2-1918-4D1A-9251-D92C8C639AB3}">
      <dsp:nvSpPr>
        <dsp:cNvPr id="0" name=""/>
        <dsp:cNvSpPr/>
      </dsp:nvSpPr>
      <dsp:spPr>
        <a:xfrm>
          <a:off x="2559928" y="-142012"/>
          <a:ext cx="1259556" cy="1259556"/>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12700" tIns="12700" rIns="12700" bIns="12700" numCol="1" spcCol="1270" anchor="ctr" anchorCtr="0">
          <a:noAutofit/>
        </a:bodyPr>
        <a:lstStyle/>
        <a:p>
          <a:pPr lvl="0" algn="ctr" defTabSz="444500" rtl="0">
            <a:lnSpc>
              <a:spcPct val="90000"/>
            </a:lnSpc>
            <a:spcBef>
              <a:spcPct val="0"/>
            </a:spcBef>
            <a:spcAft>
              <a:spcPct val="35000"/>
            </a:spcAft>
          </a:pPr>
          <a:r>
            <a:rPr lang="en-GB" sz="1000" b="1" kern="1200" dirty="0" smtClean="0"/>
            <a:t>Notes left for us on shared electronic records</a:t>
          </a:r>
          <a:endParaRPr lang="en-GB" sz="1000" b="1" kern="1200" dirty="0"/>
        </a:p>
      </dsp:txBody>
      <dsp:txXfrm>
        <a:off x="2559928" y="-142012"/>
        <a:ext cx="1259556" cy="1259556"/>
      </dsp:txXfrm>
    </dsp:sp>
    <dsp:sp modelId="{97604947-D0AB-4458-A245-086AEE3664EE}">
      <dsp:nvSpPr>
        <dsp:cNvPr id="0" name=""/>
        <dsp:cNvSpPr/>
      </dsp:nvSpPr>
      <dsp:spPr>
        <a:xfrm>
          <a:off x="2341027" y="-12725"/>
          <a:ext cx="3547545" cy="3547545"/>
        </a:xfrm>
        <a:prstGeom prst="circularArrow">
          <a:avLst>
            <a:gd name="adj1" fmla="val 5202"/>
            <a:gd name="adj2" fmla="val 336026"/>
            <a:gd name="adj3" fmla="val 16512868"/>
            <a:gd name="adj4" fmla="val 15551106"/>
            <a:gd name="adj5" fmla="val 606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81B997-A6FB-4626-9C9B-28F7BF0937F2}">
      <dsp:nvSpPr>
        <dsp:cNvPr id="0" name=""/>
        <dsp:cNvSpPr/>
      </dsp:nvSpPr>
      <dsp:spPr>
        <a:xfrm>
          <a:off x="3561294" y="864131"/>
          <a:ext cx="1107011" cy="110714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EDB4270F-1E43-4B71-A52C-540625CE5D04}">
      <dsp:nvSpPr>
        <dsp:cNvPr id="0" name=""/>
        <dsp:cNvSpPr/>
      </dsp:nvSpPr>
      <dsp:spPr>
        <a:xfrm>
          <a:off x="3480574" y="0"/>
          <a:ext cx="1268450" cy="678815"/>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rtl="0">
            <a:lnSpc>
              <a:spcPct val="90000"/>
            </a:lnSpc>
            <a:spcBef>
              <a:spcPct val="0"/>
            </a:spcBef>
            <a:spcAft>
              <a:spcPct val="35000"/>
            </a:spcAft>
          </a:pPr>
          <a:r>
            <a:rPr lang="en-GB" sz="1300" kern="1200" dirty="0" smtClean="0"/>
            <a:t>GP Surgeries</a:t>
          </a:r>
          <a:endParaRPr lang="en-GB" sz="1300" kern="1200" dirty="0"/>
        </a:p>
      </dsp:txBody>
      <dsp:txXfrm>
        <a:off x="3480574" y="0"/>
        <a:ext cx="1268450" cy="678815"/>
      </dsp:txXfrm>
    </dsp:sp>
    <dsp:sp modelId="{BD503479-00CD-46FC-AC13-9CCDA3FD028E}">
      <dsp:nvSpPr>
        <dsp:cNvPr id="0" name=""/>
        <dsp:cNvSpPr/>
      </dsp:nvSpPr>
      <dsp:spPr>
        <a:xfrm>
          <a:off x="3886017" y="1020258"/>
          <a:ext cx="1107011" cy="110714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94C979F5-03E1-4FD8-9FDE-2A77F166D9BB}">
      <dsp:nvSpPr>
        <dsp:cNvPr id="0" name=""/>
        <dsp:cNvSpPr/>
      </dsp:nvSpPr>
      <dsp:spPr>
        <a:xfrm>
          <a:off x="5129560" y="644874"/>
          <a:ext cx="1199262" cy="74669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rtl="0">
            <a:lnSpc>
              <a:spcPct val="90000"/>
            </a:lnSpc>
            <a:spcBef>
              <a:spcPct val="0"/>
            </a:spcBef>
            <a:spcAft>
              <a:spcPct val="35000"/>
            </a:spcAft>
          </a:pPr>
          <a:r>
            <a:rPr lang="en-GB" sz="1300" kern="1200" dirty="0" smtClean="0"/>
            <a:t>Health Visitors</a:t>
          </a:r>
          <a:endParaRPr lang="en-GB" sz="1300" kern="1200" dirty="0"/>
        </a:p>
      </dsp:txBody>
      <dsp:txXfrm>
        <a:off x="5129560" y="644874"/>
        <a:ext cx="1199262" cy="746696"/>
      </dsp:txXfrm>
    </dsp:sp>
    <dsp:sp modelId="{030ABF38-24A1-42BE-AA6C-2C7DBA8F85F7}">
      <dsp:nvSpPr>
        <dsp:cNvPr id="0" name=""/>
        <dsp:cNvSpPr/>
      </dsp:nvSpPr>
      <dsp:spPr>
        <a:xfrm>
          <a:off x="3965814" y="1371545"/>
          <a:ext cx="1107011" cy="110714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40DFEF6-47DC-4AB3-942F-72BF90B51195}">
      <dsp:nvSpPr>
        <dsp:cNvPr id="0" name=""/>
        <dsp:cNvSpPr/>
      </dsp:nvSpPr>
      <dsp:spPr>
        <a:xfrm>
          <a:off x="5244874" y="1595215"/>
          <a:ext cx="1176199" cy="79760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rtl="0">
            <a:lnSpc>
              <a:spcPct val="90000"/>
            </a:lnSpc>
            <a:spcBef>
              <a:spcPct val="0"/>
            </a:spcBef>
            <a:spcAft>
              <a:spcPct val="35000"/>
            </a:spcAft>
          </a:pPr>
          <a:r>
            <a:rPr lang="en-GB" sz="1300" kern="1200" dirty="0" smtClean="0"/>
            <a:t>Prison Health Services</a:t>
          </a:r>
          <a:endParaRPr lang="en-GB" sz="1300" kern="1200" dirty="0"/>
        </a:p>
      </dsp:txBody>
      <dsp:txXfrm>
        <a:off x="5244874" y="1595215"/>
        <a:ext cx="1176199" cy="797607"/>
      </dsp:txXfrm>
    </dsp:sp>
    <dsp:sp modelId="{96ED316C-D738-4195-985D-7C43CAF88056}">
      <dsp:nvSpPr>
        <dsp:cNvPr id="0" name=""/>
        <dsp:cNvSpPr/>
      </dsp:nvSpPr>
      <dsp:spPr>
        <a:xfrm>
          <a:off x="3741183" y="1653253"/>
          <a:ext cx="1107011" cy="110714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C384518-E280-4C18-A6B2-87807C343778}">
      <dsp:nvSpPr>
        <dsp:cNvPr id="0" name=""/>
        <dsp:cNvSpPr/>
      </dsp:nvSpPr>
      <dsp:spPr>
        <a:xfrm>
          <a:off x="4737493" y="2664348"/>
          <a:ext cx="1268450" cy="72972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rtl="0">
            <a:lnSpc>
              <a:spcPct val="90000"/>
            </a:lnSpc>
            <a:spcBef>
              <a:spcPct val="0"/>
            </a:spcBef>
            <a:spcAft>
              <a:spcPct val="35000"/>
            </a:spcAft>
          </a:pPr>
          <a:r>
            <a:rPr lang="en-GB" sz="1300" kern="1200" dirty="0" smtClean="0"/>
            <a:t>Gastroenterology / Infectious Diseases</a:t>
          </a:r>
          <a:endParaRPr lang="en-GB" sz="1300" kern="1200" dirty="0"/>
        </a:p>
      </dsp:txBody>
      <dsp:txXfrm>
        <a:off x="4737493" y="2664348"/>
        <a:ext cx="1268450" cy="729726"/>
      </dsp:txXfrm>
    </dsp:sp>
    <dsp:sp modelId="{23644263-BA04-40D5-9AE6-C9D0DC6EBA81}">
      <dsp:nvSpPr>
        <dsp:cNvPr id="0" name=""/>
        <dsp:cNvSpPr/>
      </dsp:nvSpPr>
      <dsp:spPr>
        <a:xfrm>
          <a:off x="3381404" y="1653253"/>
          <a:ext cx="1107011" cy="110714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26A54FA-6F69-4119-B28A-76C1B10152F1}">
      <dsp:nvSpPr>
        <dsp:cNvPr id="0" name=""/>
        <dsp:cNvSpPr/>
      </dsp:nvSpPr>
      <dsp:spPr>
        <a:xfrm>
          <a:off x="2223655" y="2664348"/>
          <a:ext cx="1268450" cy="72972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rtl="0">
            <a:lnSpc>
              <a:spcPct val="90000"/>
            </a:lnSpc>
            <a:spcBef>
              <a:spcPct val="0"/>
            </a:spcBef>
            <a:spcAft>
              <a:spcPct val="35000"/>
            </a:spcAft>
          </a:pPr>
          <a:r>
            <a:rPr lang="en-GB" sz="1300" kern="1200" dirty="0" smtClean="0"/>
            <a:t>Antenatal Services</a:t>
          </a:r>
          <a:endParaRPr lang="en-GB" sz="1300" kern="1200" dirty="0"/>
        </a:p>
      </dsp:txBody>
      <dsp:txXfrm>
        <a:off x="2223655" y="2664348"/>
        <a:ext cx="1268450" cy="729726"/>
      </dsp:txXfrm>
    </dsp:sp>
    <dsp:sp modelId="{E00F5B25-576F-4E3E-8A2F-E02878F57AB0}">
      <dsp:nvSpPr>
        <dsp:cNvPr id="0" name=""/>
        <dsp:cNvSpPr/>
      </dsp:nvSpPr>
      <dsp:spPr>
        <a:xfrm>
          <a:off x="3156773" y="1371545"/>
          <a:ext cx="1107011" cy="110714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8D31A43-D2B5-40C0-BF6D-D77263B22C0B}">
      <dsp:nvSpPr>
        <dsp:cNvPr id="0" name=""/>
        <dsp:cNvSpPr/>
      </dsp:nvSpPr>
      <dsp:spPr>
        <a:xfrm>
          <a:off x="1808526" y="1595215"/>
          <a:ext cx="1176199" cy="79760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rtl="0">
            <a:lnSpc>
              <a:spcPct val="90000"/>
            </a:lnSpc>
            <a:spcBef>
              <a:spcPct val="0"/>
            </a:spcBef>
            <a:spcAft>
              <a:spcPct val="35000"/>
            </a:spcAft>
          </a:pPr>
          <a:r>
            <a:rPr lang="en-GB" sz="1300" kern="1200" dirty="0" smtClean="0"/>
            <a:t>Asylum Health Bridging Team</a:t>
          </a:r>
          <a:endParaRPr lang="en-GB" sz="1300" kern="1200" dirty="0"/>
        </a:p>
      </dsp:txBody>
      <dsp:txXfrm>
        <a:off x="1808526" y="1595215"/>
        <a:ext cx="1176199" cy="797607"/>
      </dsp:txXfrm>
    </dsp:sp>
    <dsp:sp modelId="{6A160521-58D1-459E-8D96-2284366E7CDB}">
      <dsp:nvSpPr>
        <dsp:cNvPr id="0" name=""/>
        <dsp:cNvSpPr/>
      </dsp:nvSpPr>
      <dsp:spPr>
        <a:xfrm>
          <a:off x="3236570" y="1020258"/>
          <a:ext cx="1107011" cy="110714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2928DBD-538D-4961-B6AF-99F9A7DE307F}">
      <dsp:nvSpPr>
        <dsp:cNvPr id="0" name=""/>
        <dsp:cNvSpPr/>
      </dsp:nvSpPr>
      <dsp:spPr>
        <a:xfrm>
          <a:off x="1900776" y="644874"/>
          <a:ext cx="1199262" cy="74669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rtl="0">
            <a:lnSpc>
              <a:spcPct val="90000"/>
            </a:lnSpc>
            <a:spcBef>
              <a:spcPct val="0"/>
            </a:spcBef>
            <a:spcAft>
              <a:spcPct val="35000"/>
            </a:spcAft>
          </a:pPr>
          <a:r>
            <a:rPr lang="en-GB" sz="1300" kern="1200" dirty="0" smtClean="0"/>
            <a:t>Homeless Health &amp; Support Services</a:t>
          </a:r>
          <a:endParaRPr lang="en-GB" sz="1300" kern="1200" dirty="0"/>
        </a:p>
      </dsp:txBody>
      <dsp:txXfrm>
        <a:off x="1900776" y="644874"/>
        <a:ext cx="1199262" cy="746696"/>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1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2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CDB87D7-BBBF-4EB4-B0F4-C5BF8DCDCEE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3916AEC-6033-4154-B0CD-993D674DDC5F}" type="slidenum">
              <a:rPr lang="en-GB" smtClean="0"/>
              <a:t>‹#›</a:t>
            </a:fld>
            <a:endParaRPr lang="en-GB"/>
          </a:p>
        </p:txBody>
      </p:sp>
    </p:spTree>
    <p:extLst>
      <p:ext uri="{BB962C8B-B14F-4D97-AF65-F5344CB8AC3E}">
        <p14:creationId xmlns:p14="http://schemas.microsoft.com/office/powerpoint/2010/main" val="2581539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p:cNvSpPr>
            <a:spLocks noGrp="1" noRot="1" noChangeAspect="1"/>
          </p:cNvSpPr>
          <p:nvPr>
            <p:ph type="sldImg"/>
          </p:nvPr>
        </p:nvSpPr>
        <p:spPr bwMode="auto">
          <a:noFill/>
          <a:ln>
            <a:solidFill>
              <a:srgbClr val="000000"/>
            </a:solidFill>
            <a:miter lim="800000"/>
            <a:headEnd/>
            <a:tailEnd/>
          </a:ln>
        </p:spPr>
      </p:sp>
      <p:sp>
        <p:nvSpPr>
          <p:cNvPr id="153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INTRO - I would like to share with you some results of an audit we recently carried out for our Hepatitis B work at Sandyford. This work is part of the Sandyford Shared Care Support Service, led by myself and Chris my colleague, which up until recently involved providing advice and support to non-Sandyford Health Care Professionals (e.g. GPs) in the treatment and management of STIs, including partner notification. Although led and co-ordinated by the SHA team, it is very much working in partnership with other Health Care Professionals within NHS GG&amp;C</a:t>
            </a:r>
          </a:p>
          <a:p>
            <a:pPr eaLnBrk="1" hangingPunct="1">
              <a:spcBef>
                <a:spcPct val="0"/>
              </a:spcBef>
            </a:pPr>
            <a:endParaRPr lang="en-GB" smtClean="0"/>
          </a:p>
        </p:txBody>
      </p:sp>
      <p:sp>
        <p:nvSpPr>
          <p:cNvPr id="153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FD24B980-30D9-48FD-88D8-CE4B204C1429}" type="slidenum">
              <a:rPr lang="en-GB" smtClean="0">
                <a:solidFill>
                  <a:prstClr val="black"/>
                </a:solidFill>
              </a:rPr>
              <a:pPr/>
              <a:t>1</a:t>
            </a:fld>
            <a:endParaRPr lang="en-GB" smtClean="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bwMode="auto">
          <a:noFill/>
          <a:ln>
            <a:solidFill>
              <a:srgbClr val="000000"/>
            </a:solidFill>
            <a:miter lim="800000"/>
            <a:headEnd/>
            <a:tailEnd/>
          </a:ln>
        </p:spPr>
      </p:sp>
      <p:sp>
        <p:nvSpPr>
          <p:cNvPr id="3686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Children are one of our priorities and most were vaccinated with a small number with on-going infection and an even smaller number with immunity – most verified by us</a:t>
            </a:r>
          </a:p>
          <a:p>
            <a:pPr eaLnBrk="1" hangingPunct="1">
              <a:spcBef>
                <a:spcPct val="0"/>
              </a:spcBef>
              <a:buFontTx/>
              <a:buChar char="•"/>
            </a:pPr>
            <a:endParaRPr lang="en-GB" smtClean="0"/>
          </a:p>
          <a:p>
            <a:pPr eaLnBrk="1" hangingPunct="1">
              <a:spcBef>
                <a:spcPct val="0"/>
              </a:spcBef>
              <a:buFontTx/>
              <a:buChar char="•"/>
            </a:pPr>
            <a:r>
              <a:rPr lang="en-GB" smtClean="0"/>
              <a:t>Refused to attend – grown up child</a:t>
            </a:r>
          </a:p>
          <a:p>
            <a:pPr eaLnBrk="1" hangingPunct="1">
              <a:spcBef>
                <a:spcPct val="0"/>
              </a:spcBef>
              <a:buFontTx/>
              <a:buChar char="•"/>
            </a:pPr>
            <a:r>
              <a:rPr lang="en-GB" smtClean="0"/>
              <a:t>Not Known – at least 15 may still get outcomes for</a:t>
            </a:r>
          </a:p>
          <a:p>
            <a:pPr eaLnBrk="1" hangingPunct="1">
              <a:spcBef>
                <a:spcPct val="0"/>
              </a:spcBef>
              <a:buFontTx/>
              <a:buChar char="•"/>
            </a:pPr>
            <a:r>
              <a:rPr lang="en-GB" smtClean="0"/>
              <a:t>Range of reasons for not known – failed to get info from other HCWs; parents fail to engage (28 parents Chinese; others spread evenly in small numbers)</a:t>
            </a:r>
          </a:p>
        </p:txBody>
      </p:sp>
      <p:sp>
        <p:nvSpPr>
          <p:cNvPr id="368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1CB43C6-5AF1-4D17-897D-D0E5DAA937B0}" type="slidenum">
              <a:rPr lang="en-GB" smtClean="0">
                <a:solidFill>
                  <a:prstClr val="black"/>
                </a:solidFill>
              </a:rPr>
              <a:pPr/>
              <a:t>13</a:t>
            </a:fld>
            <a:endParaRPr lang="en-GB" smtClean="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p:cNvSpPr>
          <p:nvPr>
            <p:ph type="sldImg"/>
          </p:nvPr>
        </p:nvSpPr>
        <p:spPr bwMode="auto">
          <a:noFill/>
          <a:ln>
            <a:solidFill>
              <a:srgbClr val="000000"/>
            </a:solidFill>
            <a:miter lim="800000"/>
            <a:headEnd/>
            <a:tailEnd/>
          </a:ln>
        </p:spPr>
      </p:sp>
      <p:sp>
        <p:nvSpPr>
          <p:cNvPr id="3891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More of a spread of specific outcomes – most verified by us</a:t>
            </a:r>
          </a:p>
          <a:p>
            <a:pPr eaLnBrk="1" hangingPunct="1">
              <a:spcBef>
                <a:spcPct val="0"/>
              </a:spcBef>
            </a:pPr>
            <a:endParaRPr lang="en-GB" smtClean="0"/>
          </a:p>
          <a:p>
            <a:pPr eaLnBrk="1" hangingPunct="1">
              <a:spcBef>
                <a:spcPct val="0"/>
              </a:spcBef>
              <a:buFontTx/>
              <a:buChar char="•"/>
            </a:pPr>
            <a:r>
              <a:rPr lang="en-GB" smtClean="0"/>
              <a:t>Not vaccinated – 15 tested negative and 1 test result unknown</a:t>
            </a:r>
          </a:p>
          <a:p>
            <a:pPr eaLnBrk="1" hangingPunct="1">
              <a:spcBef>
                <a:spcPct val="0"/>
              </a:spcBef>
              <a:buFontTx/>
              <a:buChar char="•"/>
            </a:pPr>
            <a:r>
              <a:rPr lang="en-GB" smtClean="0"/>
              <a:t>Refused to attend – all 3 reported to have been informed</a:t>
            </a:r>
          </a:p>
          <a:p>
            <a:pPr eaLnBrk="1" hangingPunct="1">
              <a:spcBef>
                <a:spcPct val="0"/>
              </a:spcBef>
              <a:buFontTx/>
              <a:buChar char="•"/>
            </a:pPr>
            <a:r>
              <a:rPr lang="en-GB" smtClean="0"/>
              <a:t>Not known - 33 reported to have been tested  - possible 2 outcomes still to come - 39 indexes Chinese; 30 Black African; 28 White Scottish</a:t>
            </a:r>
          </a:p>
          <a:p>
            <a:pPr eaLnBrk="1" hangingPunct="1">
              <a:spcBef>
                <a:spcPct val="0"/>
              </a:spcBef>
            </a:pPr>
            <a:endParaRPr lang="en-GB" smtClean="0"/>
          </a:p>
          <a:p>
            <a:pPr eaLnBrk="1" hangingPunct="1"/>
            <a:r>
              <a:rPr lang="en-GB" smtClean="0"/>
              <a:t>“Dear Colleagues,</a:t>
            </a:r>
          </a:p>
          <a:p>
            <a:pPr eaLnBrk="1" hangingPunct="1"/>
            <a:r>
              <a:rPr lang="en-GB" smtClean="0"/>
              <a:t>Please find enclosed, for information, a letter from the British Association of Sexual Health and HIV (BASHH) which many of you will have received. This highlights some details of recent clusters of acute hepB in England between 2013 and 2015 associated with sub-genotype A2</a:t>
            </a:r>
          </a:p>
          <a:p>
            <a:pPr eaLnBrk="1" hangingPunct="1"/>
            <a:r>
              <a:rPr lang="en-GB" smtClean="0"/>
              <a:t>We do not routinely perform genotyping on hepB diagnoses in Scotland although it is recognised that genotype A is widespread in Northern Europe.</a:t>
            </a:r>
          </a:p>
          <a:p>
            <a:pPr eaLnBrk="1" hangingPunct="1"/>
            <a:r>
              <a:rPr lang="en-GB" smtClean="0"/>
              <a:t>HPS has established enhanced surveillance of acute hepB to glean further information on the epidemiology in Scotland by collating data from health protection colleagues in NHS boards who perform the follow up of acute diagnoses. Whilst the data are provisional at this time, we have recorded an average of 22 cases in the previous two years; where the information on transmission route is available, it is clear that sexual transmission is the main route of acquisition and occurs in both MSM and heterosexual men (and women).</a:t>
            </a:r>
          </a:p>
          <a:p>
            <a:pPr eaLnBrk="1" hangingPunct="1"/>
            <a:r>
              <a:rPr lang="en-GB" smtClean="0"/>
              <a:t>Kind regards</a:t>
            </a:r>
          </a:p>
          <a:p>
            <a:pPr eaLnBrk="1" hangingPunct="1"/>
            <a:r>
              <a:rPr lang="en-GB" smtClean="0"/>
              <a:t>Lesley”</a:t>
            </a:r>
          </a:p>
        </p:txBody>
      </p:sp>
      <p:sp>
        <p:nvSpPr>
          <p:cNvPr id="3891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0CA8B0A-CFCF-429C-A126-4058F3B5FA14}" type="slidenum">
              <a:rPr lang="en-GB" smtClean="0">
                <a:solidFill>
                  <a:prstClr val="black"/>
                </a:solidFill>
              </a:rPr>
              <a:pPr/>
              <a:t>14</a:t>
            </a:fld>
            <a:endParaRPr lang="en-GB"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bwMode="auto">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GB" smtClean="0"/>
              <a:t>HEADLINE – Range of sources of info from shared electronic records to verbal feedback from index patients, partners and HCPs</a:t>
            </a:r>
          </a:p>
          <a:p>
            <a:pPr eaLnBrk="1" hangingPunct="1"/>
            <a:endParaRPr lang="en-GB" smtClean="0"/>
          </a:p>
        </p:txBody>
      </p:sp>
      <p:sp>
        <p:nvSpPr>
          <p:cNvPr id="409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1A80794C-592C-41CD-8A10-76B576323749}" type="slidenum">
              <a:rPr lang="en-GB" smtClean="0">
                <a:solidFill>
                  <a:prstClr val="black"/>
                </a:solidFill>
              </a:rPr>
              <a:pPr/>
              <a:t>15</a:t>
            </a:fld>
            <a:endParaRPr lang="en-GB" smtClean="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p:cNvSpPr>
          <p:nvPr>
            <p:ph type="sldImg"/>
          </p:nvPr>
        </p:nvSpPr>
        <p:spPr bwMode="auto">
          <a:noFill/>
          <a:ln>
            <a:solidFill>
              <a:srgbClr val="000000"/>
            </a:solidFill>
            <a:miter lim="800000"/>
            <a:headEnd/>
            <a:tailEnd/>
          </a:ln>
        </p:spPr>
      </p:sp>
      <p:sp>
        <p:nvSpPr>
          <p:cNvPr id="4301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And none of this would have been possible without help from our colleagues in a wide range of other services, whose co-operation has helped make achieving successful Hepatitis B pn outcomes a reality in Glasgow</a:t>
            </a:r>
          </a:p>
          <a:p>
            <a:pPr eaLnBrk="1" hangingPunct="1">
              <a:spcBef>
                <a:spcPct val="0"/>
              </a:spcBef>
            </a:pPr>
            <a:endParaRPr lang="en-GB" smtClean="0"/>
          </a:p>
          <a:p>
            <a:pPr eaLnBrk="1" hangingPunct="1">
              <a:spcBef>
                <a:spcPct val="0"/>
              </a:spcBef>
              <a:buFontTx/>
              <a:buChar char="•"/>
            </a:pPr>
            <a:r>
              <a:rPr lang="en-GB" smtClean="0"/>
              <a:t>All except Gastro/ID – working relationships in place for up to 10 years – link HCWs </a:t>
            </a:r>
          </a:p>
          <a:p>
            <a:pPr eaLnBrk="1" hangingPunct="1">
              <a:spcBef>
                <a:spcPct val="0"/>
              </a:spcBef>
              <a:buFontTx/>
              <a:buChar char="•"/>
            </a:pPr>
            <a:r>
              <a:rPr lang="en-GB" smtClean="0"/>
              <a:t>Shared pn working – very little by SHAs directly</a:t>
            </a:r>
          </a:p>
        </p:txBody>
      </p:sp>
      <p:sp>
        <p:nvSpPr>
          <p:cNvPr id="430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135CEE77-9418-40F0-AA57-451BFCF508FF}" type="slidenum">
              <a:rPr lang="en-GB" smtClean="0">
                <a:solidFill>
                  <a:prstClr val="black"/>
                </a:solidFill>
              </a:rPr>
              <a:pPr/>
              <a:t>16</a:t>
            </a:fld>
            <a:endParaRPr lang="en-GB"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E1FD281C-ADF1-42FE-B81B-C79A63269C75}" type="slidenum">
              <a:rPr lang="en-US" smtClean="0">
                <a:solidFill>
                  <a:prstClr val="black"/>
                </a:solidFill>
              </a:rPr>
              <a:pPr/>
              <a:t>2</a:t>
            </a:fld>
            <a:endParaRPr lang="en-US" smtClean="0">
              <a:solidFill>
                <a:prstClr val="black"/>
              </a:solidFill>
            </a:endParaRPr>
          </a:p>
        </p:txBody>
      </p:sp>
      <p:sp>
        <p:nvSpPr>
          <p:cNvPr id="1741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741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9270CEFB-9221-4B21-B2AE-30F093C10006}" type="slidenum">
              <a:rPr lang="en-US" smtClean="0">
                <a:solidFill>
                  <a:prstClr val="black"/>
                </a:solidFill>
              </a:rPr>
              <a:pPr/>
              <a:t>3</a:t>
            </a:fld>
            <a:endParaRPr lang="en-US" smtClean="0">
              <a:solidFill>
                <a:prstClr val="black"/>
              </a:solidFill>
            </a:endParaRPr>
          </a:p>
        </p:txBody>
      </p:sp>
      <p:sp>
        <p:nvSpPr>
          <p:cNvPr id="1945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945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As is</a:t>
            </a:r>
          </a:p>
          <a:p>
            <a:pPr eaLnBrk="1" hangingPunct="1">
              <a:spcBef>
                <a:spcPct val="0"/>
              </a:spcBef>
              <a:buFontTx/>
              <a:buChar char="•"/>
            </a:pPr>
            <a:endParaRPr lang="en-GB" smtClean="0"/>
          </a:p>
          <a:p>
            <a:pPr eaLnBrk="1" hangingPunct="1">
              <a:spcBef>
                <a:spcPct val="0"/>
              </a:spcBef>
              <a:buFontTx/>
              <a:buChar char="•"/>
            </a:pPr>
            <a:r>
              <a:rPr lang="en-GB" smtClean="0"/>
              <a:t>Public Health Actions pursued as far as possible for each case</a:t>
            </a:r>
          </a:p>
          <a:p>
            <a:pPr eaLnBrk="1" hangingPunct="1">
              <a:spcBef>
                <a:spcPct val="0"/>
              </a:spcBef>
              <a:buFontTx/>
              <a:buChar char="•"/>
            </a:pPr>
            <a:r>
              <a:rPr lang="en-GB" smtClean="0"/>
              <a:t>Sexual partners/Children prioritised</a:t>
            </a:r>
          </a:p>
          <a:p>
            <a:pPr eaLnBrk="1" hangingPunct="1">
              <a:spcBef>
                <a:spcPct val="0"/>
              </a:spcBef>
              <a:buFontTx/>
              <a:buChar char="•"/>
            </a:pPr>
            <a:r>
              <a:rPr lang="en-GB" smtClean="0"/>
              <a:t>Documented and auditable</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428A211E-FBB4-46C9-80E7-C777D7368972}" type="slidenum">
              <a:rPr lang="en-US" smtClean="0">
                <a:solidFill>
                  <a:prstClr val="black"/>
                </a:solidFill>
              </a:rPr>
              <a:pPr/>
              <a:t>4</a:t>
            </a:fld>
            <a:endParaRPr lang="en-US" smtClean="0">
              <a:solidFill>
                <a:prstClr val="black"/>
              </a:solidFill>
            </a:endParaRPr>
          </a:p>
        </p:txBody>
      </p:sp>
      <p:sp>
        <p:nvSpPr>
          <p:cNvPr id="2150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15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We chose this audit period to include as many completed outcomes as possible</a:t>
            </a:r>
          </a:p>
          <a:p>
            <a:pPr eaLnBrk="1" hangingPunct="1">
              <a:spcBef>
                <a:spcPct val="0"/>
              </a:spcBef>
            </a:pPr>
            <a:endParaRPr lang="en-GB" smtClean="0"/>
          </a:p>
          <a:p>
            <a:pPr eaLnBrk="1" hangingPunct="1">
              <a:spcBef>
                <a:spcPct val="0"/>
              </a:spcBef>
              <a:buFontTx/>
              <a:buChar char="•"/>
            </a:pPr>
            <a:r>
              <a:rPr lang="en-GB" smtClean="0"/>
              <a:t>Not more recent due to high number of outstanding outcomes for 2016</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374684E1-01B2-4D45-B1D0-12F8F7166253}" type="slidenum">
              <a:rPr lang="en-US" smtClean="0">
                <a:solidFill>
                  <a:prstClr val="black"/>
                </a:solidFill>
              </a:rPr>
              <a:pPr/>
              <a:t>6</a:t>
            </a:fld>
            <a:endParaRPr lang="en-US" smtClean="0">
              <a:solidFill>
                <a:prstClr val="black"/>
              </a:solidFill>
            </a:endParaRPr>
          </a:p>
        </p:txBody>
      </p:sp>
      <p:sp>
        <p:nvSpPr>
          <p:cNvPr id="2457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457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Total of 710 cases reported to us by the lab - nearly all cases were chronic infection</a:t>
            </a:r>
          </a:p>
          <a:p>
            <a:pPr eaLnBrk="1" hangingPunct="1">
              <a:spcBef>
                <a:spcPct val="0"/>
              </a:spcBef>
            </a:pPr>
            <a:endParaRPr lang="en-GB" smtClean="0"/>
          </a:p>
          <a:p>
            <a:pPr eaLnBrk="1" hangingPunct="1">
              <a:spcBef>
                <a:spcPct val="0"/>
              </a:spcBef>
              <a:buFontTx/>
              <a:buChar char="•"/>
            </a:pPr>
            <a:r>
              <a:rPr lang="en-GB" smtClean="0"/>
              <a:t>Initially assumed we would not need to get involved with previously known cases but we quickly realised we would have to with som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8A4222E6-3601-46BF-849C-905F09F46E6E}" type="slidenum">
              <a:rPr lang="en-US" smtClean="0">
                <a:solidFill>
                  <a:prstClr val="black"/>
                </a:solidFill>
              </a:rPr>
              <a:pPr/>
              <a:t>7</a:t>
            </a:fld>
            <a:endParaRPr lang="en-US" smtClean="0">
              <a:solidFill>
                <a:prstClr val="black"/>
              </a:solidFill>
            </a:endParaRPr>
          </a:p>
        </p:txBody>
      </p:sp>
      <p:sp>
        <p:nvSpPr>
          <p:cNvPr id="2662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66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half of cases tested at either Antenatal services or their GP</a:t>
            </a:r>
          </a:p>
          <a:p>
            <a:pPr eaLnBrk="1" hangingPunct="1">
              <a:spcBef>
                <a:spcPct val="0"/>
              </a:spcBef>
              <a:buFontTx/>
              <a:buChar char="•"/>
            </a:pPr>
            <a:endParaRPr lang="en-GB" smtClean="0"/>
          </a:p>
          <a:p>
            <a:pPr eaLnBrk="1" hangingPunct="1">
              <a:spcBef>
                <a:spcPct val="0"/>
              </a:spcBef>
              <a:buFontTx/>
              <a:buChar char="•"/>
            </a:pPr>
            <a:r>
              <a:rPr lang="en-GB" smtClean="0"/>
              <a:t>Just under half scattered amongst other services such at Sandyford itself, gastro/ID and Asylum Health Bridging Team</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bwMode="auto">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Largest group are Chinese</a:t>
            </a:r>
          </a:p>
          <a:p>
            <a:pPr eaLnBrk="1" hangingPunct="1">
              <a:spcBef>
                <a:spcPct val="0"/>
              </a:spcBef>
            </a:pPr>
            <a:endParaRPr lang="en-GB" smtClean="0"/>
          </a:p>
          <a:p>
            <a:pPr eaLnBrk="1" hangingPunct="1">
              <a:spcBef>
                <a:spcPct val="0"/>
              </a:spcBef>
              <a:buFontTx/>
              <a:buChar char="•"/>
            </a:pPr>
            <a:r>
              <a:rPr lang="en-GB" smtClean="0"/>
              <a:t>White other = mostly Eastern European/Polish</a:t>
            </a:r>
          </a:p>
        </p:txBody>
      </p:sp>
      <p:sp>
        <p:nvSpPr>
          <p:cNvPr id="2867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CFE0EA2-5BE5-4DF4-A377-AF7E5B4604C2}" type="slidenum">
              <a:rPr lang="en-GB" smtClean="0">
                <a:solidFill>
                  <a:prstClr val="black"/>
                </a:solidFill>
              </a:rPr>
              <a:pPr/>
              <a:t>8</a:t>
            </a:fld>
            <a:endParaRPr lang="en-GB" smtClean="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bwMode="auto">
          <a:noFill/>
          <a:ln>
            <a:solidFill>
              <a:srgbClr val="000000"/>
            </a:solidFill>
            <a:miter lim="800000"/>
            <a:headEnd/>
            <a:tailEnd/>
          </a:ln>
        </p:spPr>
      </p:sp>
      <p:sp>
        <p:nvSpPr>
          <p:cNvPr id="3072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Over 3 quarters of cases were heterosexual</a:t>
            </a:r>
          </a:p>
          <a:p>
            <a:pPr eaLnBrk="1" hangingPunct="1">
              <a:spcBef>
                <a:spcPct val="0"/>
              </a:spcBef>
            </a:pPr>
            <a:endParaRPr lang="en-GB" smtClean="0"/>
          </a:p>
          <a:p>
            <a:pPr eaLnBrk="1" hangingPunct="1">
              <a:spcBef>
                <a:spcPct val="0"/>
              </a:spcBef>
              <a:buFontTx/>
              <a:buChar char="•"/>
            </a:pPr>
            <a:r>
              <a:rPr lang="en-GB" smtClean="0"/>
              <a:t>Not known - from histories most presumed heterosexual  - 103 likely previous diagnoses with no failsafe intervention</a:t>
            </a:r>
          </a:p>
          <a:p>
            <a:pPr eaLnBrk="1" hangingPunct="1">
              <a:spcBef>
                <a:spcPct val="0"/>
              </a:spcBef>
              <a:buFontTx/>
              <a:buChar char="•"/>
            </a:pPr>
            <a:r>
              <a:rPr lang="en-GB" smtClean="0"/>
              <a:t>Gay - All males - 4 white UK; 1 any other white; 1 Black African - 1 acute; 5 chronic with 2 previously known</a:t>
            </a:r>
          </a:p>
          <a:p>
            <a:pPr eaLnBrk="1" hangingPunct="1">
              <a:spcBef>
                <a:spcPct val="0"/>
              </a:spcBef>
              <a:buFontTx/>
              <a:buChar char="•"/>
            </a:pPr>
            <a:r>
              <a:rPr lang="en-GB" smtClean="0"/>
              <a:t>Bisexual - All males - 2 Black African (1 acute); 1 White Scottish (1 acute); 1 Polish</a:t>
            </a:r>
          </a:p>
        </p:txBody>
      </p:sp>
      <p:sp>
        <p:nvSpPr>
          <p:cNvPr id="307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507DCA2-A461-49B8-969F-48B5B18321E9}" type="slidenum">
              <a:rPr lang="en-GB" smtClean="0">
                <a:solidFill>
                  <a:prstClr val="black"/>
                </a:solidFill>
              </a:rPr>
              <a:pPr/>
              <a:t>9</a:t>
            </a:fld>
            <a:endParaRPr lang="en-GB" smtClean="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p:spPr>
      </p:sp>
      <p:sp>
        <p:nvSpPr>
          <p:cNvPr id="3379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HEADLINE – A total of 1273 contacts were identified from the 710 cases, with 1007 having at least one recorded outcome – most of these were vaccinated, with a smaller number having on-going infection and an even smaller number having immunity through previous infection – most of these specific outcomes were verified by us</a:t>
            </a:r>
          </a:p>
          <a:p>
            <a:pPr eaLnBrk="1" hangingPunct="1">
              <a:spcBef>
                <a:spcPct val="0"/>
              </a:spcBef>
            </a:pPr>
            <a:endParaRPr lang="en-GB" smtClean="0"/>
          </a:p>
          <a:p>
            <a:pPr eaLnBrk="1" hangingPunct="1">
              <a:spcBef>
                <a:spcPct val="0"/>
              </a:spcBef>
              <a:buFontTx/>
              <a:buChar char="•"/>
            </a:pPr>
            <a:r>
              <a:rPr lang="en-GB" smtClean="0"/>
              <a:t>Recorded outcomes – one or more of outcome markers populated</a:t>
            </a:r>
          </a:p>
          <a:p>
            <a:pPr eaLnBrk="1" hangingPunct="1">
              <a:spcBef>
                <a:spcPct val="0"/>
              </a:spcBef>
              <a:buFontTx/>
              <a:buChar char="•"/>
            </a:pPr>
            <a:r>
              <a:rPr lang="en-GB" smtClean="0"/>
              <a:t>Outcomes take months to collect – still work outstanding from audit period</a:t>
            </a:r>
          </a:p>
        </p:txBody>
      </p:sp>
      <p:sp>
        <p:nvSpPr>
          <p:cNvPr id="33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D7CC11C9-EFD7-44CA-B560-58CCCEA6F70D}" type="slidenum">
              <a:rPr lang="en-GB" smtClean="0">
                <a:solidFill>
                  <a:prstClr val="black"/>
                </a:solidFill>
              </a:rPr>
              <a:pPr/>
              <a:t>11</a:t>
            </a:fld>
            <a:endParaRPr lang="en-GB" smtClean="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OUH_FT_Powerpoint_Elements.pdf-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685800" y="1597834"/>
            <a:ext cx="7772400" cy="1102519"/>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4777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502718CB-D9B6-4059-8E3E-B5284981BA9A}" type="datetimeFigureOut">
              <a:rPr lang="en-GB">
                <a:solidFill>
                  <a:prstClr val="black"/>
                </a:solidFill>
              </a:rPr>
              <a:pPr>
                <a:defRPr/>
              </a:pPr>
              <a:t>11/07/2016</a:t>
            </a:fld>
            <a:endParaRPr lang="en-GB">
              <a:solidFill>
                <a:prstClr val="black"/>
              </a:solidFill>
            </a:endParaRPr>
          </a:p>
        </p:txBody>
      </p:sp>
      <p:sp>
        <p:nvSpPr>
          <p:cNvPr id="5" name="Footer Placeholder 4"/>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47A12027-0E7F-493D-A6A3-A901A9612CA4}"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2375347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1F6C40DC-4521-4029-BFF1-57BF526E2C10}" type="datetimeFigureOut">
              <a:rPr lang="en-GB">
                <a:solidFill>
                  <a:prstClr val="black"/>
                </a:solidFill>
              </a:rPr>
              <a:pPr>
                <a:defRPr/>
              </a:pPr>
              <a:t>11/07/2016</a:t>
            </a:fld>
            <a:endParaRPr lang="en-GB">
              <a:solidFill>
                <a:prstClr val="black"/>
              </a:solidFill>
            </a:endParaRPr>
          </a:p>
        </p:txBody>
      </p:sp>
      <p:sp>
        <p:nvSpPr>
          <p:cNvPr id="6" name="Footer Placeholder 5"/>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7" name="Slide Number Placeholder 6"/>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88703D85-7CC3-4729-B45B-088687AA320E}"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17851508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04596E42-F8B3-47FE-9125-7C10D17F44E9}" type="datetimeFigureOut">
              <a:rPr lang="en-GB">
                <a:solidFill>
                  <a:prstClr val="black"/>
                </a:solidFill>
              </a:rPr>
              <a:pPr>
                <a:defRPr/>
              </a:pPr>
              <a:t>11/07/2016</a:t>
            </a:fld>
            <a:endParaRPr lang="en-GB">
              <a:solidFill>
                <a:prstClr val="black"/>
              </a:solidFill>
            </a:endParaRPr>
          </a:p>
        </p:txBody>
      </p:sp>
      <p:sp>
        <p:nvSpPr>
          <p:cNvPr id="8" name="Footer Placeholder 7"/>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9" name="Slide Number Placeholder 8"/>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BE486246-A2E4-405E-9142-0D0FC1E6A65F}"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302482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4E12EAF5-06A0-4DBD-9E0B-D5F2F4D7B1B5}" type="datetimeFigureOut">
              <a:rPr lang="en-GB">
                <a:solidFill>
                  <a:prstClr val="black"/>
                </a:solidFill>
              </a:rPr>
              <a:pPr>
                <a:defRPr/>
              </a:pPr>
              <a:t>11/07/2016</a:t>
            </a:fld>
            <a:endParaRPr lang="en-GB">
              <a:solidFill>
                <a:prstClr val="black"/>
              </a:solidFill>
            </a:endParaRPr>
          </a:p>
        </p:txBody>
      </p:sp>
      <p:sp>
        <p:nvSpPr>
          <p:cNvPr id="4" name="Footer Placeholder 3"/>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5" name="Slide Number Placeholder 4"/>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4AA11257-8354-4428-BC05-63F3BE47C7C7}"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30241308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F8D2442D-DD24-4BA4-82B7-B6CE2F01111C}" type="datetimeFigureOut">
              <a:rPr lang="en-GB">
                <a:solidFill>
                  <a:prstClr val="black"/>
                </a:solidFill>
              </a:rPr>
              <a:pPr>
                <a:defRPr/>
              </a:pPr>
              <a:t>11/07/2016</a:t>
            </a:fld>
            <a:endParaRPr lang="en-GB">
              <a:solidFill>
                <a:prstClr val="black"/>
              </a:solidFill>
            </a:endParaRPr>
          </a:p>
        </p:txBody>
      </p:sp>
      <p:sp>
        <p:nvSpPr>
          <p:cNvPr id="3" name="Footer Placeholder 2"/>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4" name="Slide Number Placeholder 3"/>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635705DC-F7F6-439F-837E-FDC5880643B7}"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158269460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408551D8-16C1-4765-B3C4-BC19D17BB1FD}" type="datetimeFigureOut">
              <a:rPr lang="en-GB">
                <a:solidFill>
                  <a:prstClr val="black"/>
                </a:solidFill>
              </a:rPr>
              <a:pPr>
                <a:defRPr/>
              </a:pPr>
              <a:t>11/07/2016</a:t>
            </a:fld>
            <a:endParaRPr lang="en-GB">
              <a:solidFill>
                <a:prstClr val="black"/>
              </a:solidFill>
            </a:endParaRPr>
          </a:p>
        </p:txBody>
      </p:sp>
      <p:sp>
        <p:nvSpPr>
          <p:cNvPr id="6" name="Footer Placeholder 5"/>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7" name="Slide Number Placeholder 6"/>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52020E26-6E91-4142-B3AB-0BB0A93A75DD}"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3388869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E2FEB5BB-55B4-42EF-82D4-34D3FF199884}" type="datetimeFigureOut">
              <a:rPr lang="en-GB">
                <a:solidFill>
                  <a:prstClr val="black"/>
                </a:solidFill>
              </a:rPr>
              <a:pPr>
                <a:defRPr/>
              </a:pPr>
              <a:t>11/07/2016</a:t>
            </a:fld>
            <a:endParaRPr lang="en-GB">
              <a:solidFill>
                <a:prstClr val="black"/>
              </a:solidFill>
            </a:endParaRPr>
          </a:p>
        </p:txBody>
      </p:sp>
      <p:sp>
        <p:nvSpPr>
          <p:cNvPr id="6" name="Footer Placeholder 5"/>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7" name="Slide Number Placeholder 6"/>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C80FDF6A-1AE0-4E43-98F5-1BB6ACC8C478}"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329007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FF687E05-D50D-494C-B7BD-0F4E9E150C01}" type="datetimeFigureOut">
              <a:rPr lang="en-GB">
                <a:solidFill>
                  <a:prstClr val="black"/>
                </a:solidFill>
              </a:rPr>
              <a:pPr>
                <a:defRPr/>
              </a:pPr>
              <a:t>11/07/2016</a:t>
            </a:fld>
            <a:endParaRPr lang="en-GB">
              <a:solidFill>
                <a:prstClr val="black"/>
              </a:solidFill>
            </a:endParaRPr>
          </a:p>
        </p:txBody>
      </p:sp>
      <p:sp>
        <p:nvSpPr>
          <p:cNvPr id="5" name="Footer Placeholder 4"/>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AEB0604D-BEA9-419D-82B7-31B55246E6ED}"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2105027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6C4EF02F-671B-4D8D-973A-145A1DD6BB76}" type="datetimeFigureOut">
              <a:rPr lang="en-GB">
                <a:solidFill>
                  <a:prstClr val="black"/>
                </a:solidFill>
              </a:rPr>
              <a:pPr>
                <a:defRPr/>
              </a:pPr>
              <a:t>11/07/2016</a:t>
            </a:fld>
            <a:endParaRPr lang="en-GB">
              <a:solidFill>
                <a:prstClr val="black"/>
              </a:solidFill>
            </a:endParaRPr>
          </a:p>
        </p:txBody>
      </p:sp>
      <p:sp>
        <p:nvSpPr>
          <p:cNvPr id="5" name="Footer Placeholder 4"/>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AB425656-E980-4508-A3A0-00104D6F1995}"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25072039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47"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Calibri" panose="020F0502020204030204" pitchFamily="34" charset="0"/>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Calibri" panose="020F0502020204030204" pitchFamily="34" charset="0"/>
                <a:ea typeface="+mj-ea"/>
              </a:defRPr>
            </a:lvl1pPr>
          </a:lstStyle>
          <a:p>
            <a:pPr lvl="0"/>
            <a:r>
              <a:rPr lang="en-US" noProof="0" dirty="0" smtClean="0"/>
              <a:t>Click to edit Master subtitle style</a:t>
            </a:r>
          </a:p>
        </p:txBody>
      </p:sp>
      <p:pic>
        <p:nvPicPr>
          <p:cNvPr id="21" name="Picture 20"/>
          <p:cNvPicPr/>
          <p:nvPr userDrawn="1"/>
        </p:nvPicPr>
        <p:blipFill rotWithShape="1">
          <a:blip r:embed="rId7"/>
          <a:srcRect l="5388" t="27969" r="50216" b="41379"/>
          <a:stretch/>
        </p:blipFill>
        <p:spPr bwMode="auto">
          <a:xfrm>
            <a:off x="395536" y="159512"/>
            <a:ext cx="1691680" cy="52545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307684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3190"/>
            <a:ext cx="8229600" cy="3221435"/>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Date Placeholder 3"/>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
        <p:nvSpPr>
          <p:cNvPr id="7"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Tree>
    <p:extLst>
      <p:ext uri="{BB962C8B-B14F-4D97-AF65-F5344CB8AC3E}">
        <p14:creationId xmlns:p14="http://schemas.microsoft.com/office/powerpoint/2010/main" val="29362717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844323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OUH_FT_Powerpoint_Elements.pdf-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722313" y="1725613"/>
            <a:ext cx="7772400" cy="1021556"/>
          </a:xfrm>
        </p:spPr>
        <p:txBody>
          <a:bodyPr anchor="t"/>
          <a:lstStyle>
            <a:lvl1pPr algn="l">
              <a:defRPr sz="4000" b="1" cap="all"/>
            </a:lvl1pPr>
          </a:lstStyle>
          <a:p>
            <a:r>
              <a:rPr lang="en-GB" dirty="0" smtClean="0"/>
              <a:t>Click to edit Master title style</a:t>
            </a:r>
            <a:endParaRPr lang="en-US" dirty="0"/>
          </a:p>
        </p:txBody>
      </p:sp>
      <p:sp>
        <p:nvSpPr>
          <p:cNvPr id="4" name="Date Placeholder 3"/>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37879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
        <p:nvSpPr>
          <p:cNvPr id="3" name="Content Placeholder 2"/>
          <p:cNvSpPr>
            <a:spLocks noGrp="1"/>
          </p:cNvSpPr>
          <p:nvPr>
            <p:ph sz="half" idx="1"/>
          </p:nvPr>
        </p:nvSpPr>
        <p:spPr>
          <a:xfrm>
            <a:off x="457200" y="1428750"/>
            <a:ext cx="4038600" cy="31658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648200" y="1428750"/>
            <a:ext cx="4038600" cy="31658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4"/>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3344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446331"/>
            <a:ext cx="4040188" cy="3038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57200" y="1809751"/>
            <a:ext cx="4040188" cy="278487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645033" y="1446329"/>
            <a:ext cx="4041775" cy="27084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33" y="1809749"/>
            <a:ext cx="4041775" cy="278487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Date Placeholder 6"/>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
        <p:nvSpPr>
          <p:cNvPr id="10"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Tree>
    <p:extLst>
      <p:ext uri="{BB962C8B-B14F-4D97-AF65-F5344CB8AC3E}">
        <p14:creationId xmlns:p14="http://schemas.microsoft.com/office/powerpoint/2010/main" val="3276620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descr="OUH_FT_Powerpoint_Elements.pdf-7.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Date Placeholder 2"/>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4" name="Footer Placeholder 3"/>
          <p:cNvSpPr>
            <a:spLocks noGrp="1"/>
          </p:cNvSpPr>
          <p:nvPr>
            <p:ph type="ftr" sz="quarter" idx="11"/>
          </p:nvPr>
        </p:nvSpPr>
        <p:spPr>
          <a:xfrm>
            <a:off x="3124200" y="4878384"/>
            <a:ext cx="2895600" cy="273844"/>
          </a:xfr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4886322"/>
            <a:ext cx="2133600" cy="273844"/>
          </a:xfrm>
        </p:spPr>
        <p:txBody>
          <a:bodyPr/>
          <a:lstStyle/>
          <a:p>
            <a:fld id="{7BA822E9-1B73-AF45-9565-CA9B24DE4831}" type="slidenum">
              <a:rPr lang="en-US" smtClean="0">
                <a:solidFill>
                  <a:prstClr val="black">
                    <a:tint val="75000"/>
                  </a:prstClr>
                </a:solidFill>
              </a:rPr>
              <a:pPr/>
              <a:t>‹#›</a:t>
            </a:fld>
            <a:endParaRPr lang="en-US" dirty="0">
              <a:solidFill>
                <a:prstClr val="black">
                  <a:tint val="75000"/>
                </a:prstClr>
              </a:solidFill>
            </a:endParaRPr>
          </a:p>
        </p:txBody>
      </p:sp>
      <p:sp>
        <p:nvSpPr>
          <p:cNvPr id="7"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Tree>
    <p:extLst>
      <p:ext uri="{BB962C8B-B14F-4D97-AF65-F5344CB8AC3E}">
        <p14:creationId xmlns:p14="http://schemas.microsoft.com/office/powerpoint/2010/main" val="3539955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2"/>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pic>
        <p:nvPicPr>
          <p:cNvPr id="6" name="Picture 5" descr="OUH_FT_Powerpoint_Elements.pdf-8.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461486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2284042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AF15BA65-9643-4801-BAEB-468CC2F652D8}" type="datetimeFigureOut">
              <a:rPr lang="en-GB">
                <a:solidFill>
                  <a:prstClr val="black"/>
                </a:solidFill>
              </a:rPr>
              <a:pPr>
                <a:defRPr/>
              </a:pPr>
              <a:t>11/07/2016</a:t>
            </a:fld>
            <a:endParaRPr lang="en-GB">
              <a:solidFill>
                <a:prstClr val="black"/>
              </a:solidFill>
            </a:endParaRPr>
          </a:p>
        </p:txBody>
      </p:sp>
      <p:sp>
        <p:nvSpPr>
          <p:cNvPr id="5" name="Footer Placeholder 4"/>
          <p:cNvSpPr>
            <a:spLocks noGrp="1"/>
          </p:cNvSpPr>
          <p:nvPr>
            <p:ph type="ftr" sz="quarter" idx="11"/>
          </p:nvPr>
        </p:nvSpPr>
        <p:spPr>
          <a:xfrm>
            <a:off x="3124200" y="4767263"/>
            <a:ext cx="2895600" cy="274637"/>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a:xfrm>
            <a:off x="6553200" y="4767263"/>
            <a:ext cx="2133600" cy="274637"/>
          </a:xfrm>
          <a:prstGeom prst="rect">
            <a:avLst/>
          </a:prstGeom>
        </p:spPr>
        <p:txBody>
          <a:bodyPr/>
          <a:lstStyle>
            <a:lvl1pPr fontAlgn="auto">
              <a:spcBef>
                <a:spcPts val="0"/>
              </a:spcBef>
              <a:spcAft>
                <a:spcPts val="0"/>
              </a:spcAft>
              <a:defRPr>
                <a:latin typeface="+mn-lt"/>
                <a:cs typeface="+mn-cs"/>
              </a:defRPr>
            </a:lvl1pPr>
          </a:lstStyle>
          <a:p>
            <a:pPr>
              <a:defRPr/>
            </a:pPr>
            <a:fld id="{BF0C3B05-8CF8-4F5D-AFB4-12A7666DC7D8}"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6714121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5.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3.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0.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9.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7.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OUH_FT_Powerpoint_Elements.pdf-6.jp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A8C370B4-6A7F-7B42-9141-7CC94DCAF494}" type="datetimeFigureOut">
              <a:rPr lang="en-US" smtClean="0">
                <a:solidFill>
                  <a:prstClr val="black">
                    <a:tint val="75000"/>
                  </a:prstClr>
                </a:solidFill>
              </a:rPr>
              <a:pPr defTabSz="457200"/>
              <a:t>7/11/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7BA822E9-1B73-AF45-9565-CA9B24DE4831}"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204012057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06375"/>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457200" y="1200150"/>
            <a:ext cx="8229600" cy="3394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1028" name="Picture 2"/>
          <p:cNvPicPr>
            <a:picLocks noChangeAspect="1" noChangeArrowheads="1"/>
          </p:cNvPicPr>
          <p:nvPr userDrawn="1"/>
        </p:nvPicPr>
        <p:blipFill>
          <a:blip r:embed="rId13"/>
          <a:srcRect/>
          <a:stretch>
            <a:fillRect/>
          </a:stretch>
        </p:blipFill>
        <p:spPr bwMode="auto">
          <a:xfrm>
            <a:off x="8101013" y="4156075"/>
            <a:ext cx="731837" cy="914400"/>
          </a:xfrm>
          <a:prstGeom prst="rect">
            <a:avLst/>
          </a:prstGeom>
          <a:noFill/>
          <a:ln w="9525">
            <a:noFill/>
            <a:miter lim="800000"/>
            <a:headEnd/>
            <a:tailEnd/>
          </a:ln>
        </p:spPr>
      </p:pic>
      <p:sp>
        <p:nvSpPr>
          <p:cNvPr id="10" name="Footer Placeholder 4"/>
          <p:cNvSpPr txBox="1">
            <a:spLocks/>
          </p:cNvSpPr>
          <p:nvPr userDrawn="1"/>
        </p:nvSpPr>
        <p:spPr>
          <a:xfrm>
            <a:off x="60325" y="4535488"/>
            <a:ext cx="4367213" cy="628650"/>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smtClean="0">
                <a:solidFill>
                  <a:srgbClr val="1F497D"/>
                </a:solidFill>
              </a:rPr>
              <a:t>BASHH Conference – Oxford 2016</a:t>
            </a:r>
            <a:endParaRPr lang="en-GB" dirty="0">
              <a:solidFill>
                <a:srgbClr val="1F497D"/>
              </a:solidFill>
            </a:endParaRPr>
          </a:p>
        </p:txBody>
      </p:sp>
    </p:spTree>
    <p:extLst>
      <p:ext uri="{BB962C8B-B14F-4D97-AF65-F5344CB8AC3E}">
        <p14:creationId xmlns:p14="http://schemas.microsoft.com/office/powerpoint/2010/main" val="68317357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9223"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611560" y="1310283"/>
            <a:ext cx="5832996"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98" name="Title Placeholder 2"/>
          <p:cNvSpPr>
            <a:spLocks noGrp="1" noChangeArrowheads="1"/>
          </p:cNvSpPr>
          <p:nvPr>
            <p:ph type="title"/>
          </p:nvPr>
        </p:nvSpPr>
        <p:spPr bwMode="auto">
          <a:xfrm>
            <a:off x="323529" y="545140"/>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745843718"/>
      </p:ext>
    </p:extLst>
  </p:cSld>
  <p:clrMap bg1="lt1" tx1="dk1" bg2="lt2" tx2="dk2" accent1="accent1" accent2="accent2" accent3="accent3" accent4="accent4" accent5="accent5" accent6="accent6" hlink="hlink" folHlink="folHlink"/>
  <p:sldLayoutIdLst>
    <p:sldLayoutId id="2147483777" r:id="rId1"/>
    <p:sldLayoutId id="2147483778"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Calibri" panose="020F0502020204030204" pitchFamily="34" charset="0"/>
          <a:ea typeface="+mj-ea"/>
          <a:cs typeface="Calibri" panose="020F0502020204030204" pitchFamily="34" charset="0"/>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Calibri" panose="020F0502020204030204" pitchFamily="34" charset="0"/>
          <a:ea typeface="+mn-ea"/>
          <a:cs typeface="Calibri" panose="020F0502020204030204" pitchFamily="34" charset="0"/>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3.jpeg"/><Relationship Id="rId4" Type="http://schemas.openxmlformats.org/officeDocument/2006/relationships/diagramLayout" Target="../diagrams/layout1.xml"/><Relationship Id="rId9"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9.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635375" y="2571750"/>
            <a:ext cx="5508625" cy="1314450"/>
          </a:xfrm>
        </p:spPr>
        <p:txBody>
          <a:bodyPr rtlCol="0">
            <a:normAutofit fontScale="62500" lnSpcReduction="20000"/>
          </a:bodyPr>
          <a:lstStyle/>
          <a:p>
            <a:pPr eaLnBrk="1" fontAlgn="auto" hangingPunct="1">
              <a:spcAft>
                <a:spcPts val="0"/>
              </a:spcAft>
              <a:buFont typeface="Arial" panose="020B0604020202020204" pitchFamily="34" charset="0"/>
              <a:buNone/>
              <a:defRPr/>
            </a:pPr>
            <a:r>
              <a:rPr lang="en-GB" dirty="0" smtClean="0"/>
              <a:t>Sam King</a:t>
            </a:r>
          </a:p>
          <a:p>
            <a:pPr eaLnBrk="1" fontAlgn="auto" hangingPunct="1">
              <a:spcAft>
                <a:spcPts val="0"/>
              </a:spcAft>
              <a:buFont typeface="Arial" panose="020B0604020202020204" pitchFamily="34" charset="0"/>
              <a:buNone/>
              <a:defRPr/>
            </a:pPr>
            <a:r>
              <a:rPr lang="en-GB" dirty="0" smtClean="0"/>
              <a:t>Sexual Health Adviser</a:t>
            </a:r>
          </a:p>
          <a:p>
            <a:pPr eaLnBrk="1" fontAlgn="auto" hangingPunct="1">
              <a:spcAft>
                <a:spcPts val="0"/>
              </a:spcAft>
              <a:buFont typeface="Arial" panose="020B0604020202020204" pitchFamily="34" charset="0"/>
              <a:buNone/>
              <a:defRPr/>
            </a:pPr>
            <a:r>
              <a:rPr lang="en-GB" dirty="0" err="1" smtClean="0"/>
              <a:t>Sandyford</a:t>
            </a:r>
            <a:r>
              <a:rPr lang="en-GB" dirty="0" smtClean="0"/>
              <a:t> Sexual &amp; Reproductive Health Service</a:t>
            </a:r>
          </a:p>
          <a:p>
            <a:pPr eaLnBrk="1" fontAlgn="auto" hangingPunct="1">
              <a:spcAft>
                <a:spcPts val="0"/>
              </a:spcAft>
              <a:buFont typeface="Arial" panose="020B0604020202020204" pitchFamily="34" charset="0"/>
              <a:buNone/>
              <a:defRPr/>
            </a:pPr>
            <a:r>
              <a:rPr lang="en-GB" dirty="0" smtClean="0"/>
              <a:t> NHS Greater Glasgow &amp; Clyde</a:t>
            </a:r>
            <a:endParaRPr lang="en-GB" dirty="0"/>
          </a:p>
        </p:txBody>
      </p:sp>
      <p:graphicFrame>
        <p:nvGraphicFramePr>
          <p:cNvPr id="5" name="Diagram 4"/>
          <p:cNvGraphicFramePr/>
          <p:nvPr/>
        </p:nvGraphicFramePr>
        <p:xfrm>
          <a:off x="697856" y="1224235"/>
          <a:ext cx="7772400" cy="11017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341" name="Picture 5" descr="Sandyford 01"/>
          <p:cNvPicPr>
            <a:picLocks noChangeAspect="1" noChangeArrowheads="1"/>
          </p:cNvPicPr>
          <p:nvPr/>
        </p:nvPicPr>
        <p:blipFill>
          <a:blip r:embed="rId8"/>
          <a:srcRect/>
          <a:stretch>
            <a:fillRect/>
          </a:stretch>
        </p:blipFill>
        <p:spPr bwMode="auto">
          <a:xfrm>
            <a:off x="0" y="0"/>
            <a:ext cx="1908175" cy="485775"/>
          </a:xfrm>
          <a:prstGeom prst="rect">
            <a:avLst/>
          </a:prstGeom>
          <a:noFill/>
        </p:spPr>
      </p:pic>
      <p:pic>
        <p:nvPicPr>
          <p:cNvPr id="14342" name="Picture 6" descr="NHSGG&amp;C*SPOT"/>
          <p:cNvPicPr>
            <a:picLocks noChangeAspect="1" noChangeArrowheads="1"/>
          </p:cNvPicPr>
          <p:nvPr/>
        </p:nvPicPr>
        <p:blipFill>
          <a:blip r:embed="rId9"/>
          <a:srcRect/>
          <a:stretch>
            <a:fillRect/>
          </a:stretch>
        </p:blipFill>
        <p:spPr bwMode="auto">
          <a:xfrm>
            <a:off x="8027988" y="123825"/>
            <a:ext cx="971550" cy="698500"/>
          </a:xfrm>
          <a:prstGeom prst="rect">
            <a:avLst/>
          </a:prstGeom>
          <a:noFill/>
        </p:spPr>
      </p:pic>
      <p:pic>
        <p:nvPicPr>
          <p:cNvPr id="14344" name="Picture 8" descr="key_Autumn_Conference_Glasgow"/>
          <p:cNvPicPr>
            <a:picLocks noChangeAspect="1" noChangeArrowheads="1"/>
          </p:cNvPicPr>
          <p:nvPr/>
        </p:nvPicPr>
        <p:blipFill>
          <a:blip r:embed="rId10"/>
          <a:srcRect/>
          <a:stretch>
            <a:fillRect/>
          </a:stretch>
        </p:blipFill>
        <p:spPr bwMode="auto">
          <a:xfrm>
            <a:off x="250825" y="2571750"/>
            <a:ext cx="3384550" cy="1847850"/>
          </a:xfrm>
          <a:prstGeom prst="rect">
            <a:avLst/>
          </a:prstGeom>
          <a:noFill/>
        </p:spPr>
      </p:pic>
    </p:spTree>
    <p:extLst>
      <p:ext uri="{BB962C8B-B14F-4D97-AF65-F5344CB8AC3E}">
        <p14:creationId xmlns:p14="http://schemas.microsoft.com/office/powerpoint/2010/main" val="5372114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le 1"/>
          <p:cNvSpPr>
            <a:spLocks noGrp="1"/>
          </p:cNvSpPr>
          <p:nvPr>
            <p:ph type="title"/>
          </p:nvPr>
        </p:nvSpPr>
        <p:spPr/>
        <p:txBody>
          <a:bodyPr/>
          <a:lstStyle/>
          <a:p>
            <a:pPr eaLnBrk="1" hangingPunct="1"/>
            <a:r>
              <a:rPr lang="en-GB" smtClean="0"/>
              <a:t>Contact Data Recorded</a:t>
            </a:r>
          </a:p>
        </p:txBody>
      </p:sp>
      <p:graphicFrame>
        <p:nvGraphicFramePr>
          <p:cNvPr id="4" name="Content Placeholder 3"/>
          <p:cNvGraphicFramePr>
            <a:graphicFrameLocks noGrp="1"/>
          </p:cNvGraphicFramePr>
          <p:nvPr>
            <p:ph idx="1"/>
          </p:nvPr>
        </p:nvGraphicFramePr>
        <p:xfrm>
          <a:off x="457200" y="1200150"/>
          <a:ext cx="8229600" cy="33940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071082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nvGraphicFramePr>
        <p:xfrm>
          <a:off x="395536" y="0"/>
          <a:ext cx="7488832" cy="458797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147975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395536" y="195486"/>
          <a:ext cx="7200800" cy="424847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955627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251520" y="123478"/>
          <a:ext cx="7776864" cy="43924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21894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323528" y="123478"/>
          <a:ext cx="7128792" cy="4320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605689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
          <p:cNvSpPr>
            <a:spLocks noGrp="1" noChangeArrowheads="1"/>
          </p:cNvSpPr>
          <p:nvPr>
            <p:ph type="title"/>
          </p:nvPr>
        </p:nvSpPr>
        <p:spPr>
          <a:xfrm>
            <a:off x="395288" y="0"/>
            <a:ext cx="8229600" cy="555625"/>
          </a:xfrm>
        </p:spPr>
        <p:txBody>
          <a:bodyPr/>
          <a:lstStyle/>
          <a:p>
            <a:pPr eaLnBrk="1" hangingPunct="1"/>
            <a:r>
              <a:rPr lang="en-GB" smtClean="0"/>
              <a:t>Sources of Information</a:t>
            </a:r>
          </a:p>
        </p:txBody>
      </p:sp>
      <p:graphicFrame>
        <p:nvGraphicFramePr>
          <p:cNvPr id="10" name="Diagram 9"/>
          <p:cNvGraphicFramePr/>
          <p:nvPr/>
        </p:nvGraphicFramePr>
        <p:xfrm>
          <a:off x="457200" y="771550"/>
          <a:ext cx="8229600" cy="3822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000798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2"/>
          <p:cNvSpPr>
            <a:spLocks noGrp="1" noChangeArrowheads="1"/>
          </p:cNvSpPr>
          <p:nvPr>
            <p:ph type="title"/>
          </p:nvPr>
        </p:nvSpPr>
        <p:spPr>
          <a:xfrm>
            <a:off x="684213" y="195263"/>
            <a:ext cx="7772400" cy="655637"/>
          </a:xfrm>
        </p:spPr>
        <p:txBody>
          <a:bodyPr/>
          <a:lstStyle/>
          <a:p>
            <a:pPr eaLnBrk="1" hangingPunct="1"/>
            <a:r>
              <a:rPr lang="en-GB" smtClean="0"/>
              <a:t>Range of Partner Services</a:t>
            </a:r>
          </a:p>
        </p:txBody>
      </p:sp>
      <p:graphicFrame>
        <p:nvGraphicFramePr>
          <p:cNvPr id="4" name="Diagram 3"/>
          <p:cNvGraphicFramePr/>
          <p:nvPr/>
        </p:nvGraphicFramePr>
        <p:xfrm>
          <a:off x="467544" y="987574"/>
          <a:ext cx="8229600" cy="33940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033835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6" name="Picture 4" descr="key_Autumn_Conference_Glasgow"/>
          <p:cNvPicPr>
            <a:picLocks noChangeAspect="1" noChangeArrowheads="1"/>
          </p:cNvPicPr>
          <p:nvPr/>
        </p:nvPicPr>
        <p:blipFill>
          <a:blip r:embed="rId2">
            <a:lum bright="-18000"/>
          </a:blip>
          <a:srcRect/>
          <a:stretch>
            <a:fillRect/>
          </a:stretch>
        </p:blipFill>
        <p:spPr bwMode="auto">
          <a:xfrm>
            <a:off x="755650" y="339725"/>
            <a:ext cx="7273925" cy="3971925"/>
          </a:xfrm>
          <a:prstGeom prst="rect">
            <a:avLst/>
          </a:prstGeom>
          <a:noFill/>
        </p:spPr>
      </p:pic>
      <p:sp>
        <p:nvSpPr>
          <p:cNvPr id="44033" name="Rectangle 4"/>
          <p:cNvSpPr>
            <a:spLocks noGrp="1"/>
          </p:cNvSpPr>
          <p:nvPr>
            <p:ph type="ctrTitle" idx="4294967295"/>
          </p:nvPr>
        </p:nvSpPr>
        <p:spPr>
          <a:xfrm>
            <a:off x="684213" y="627063"/>
            <a:ext cx="7632700" cy="1101725"/>
          </a:xfrm>
        </p:spPr>
        <p:txBody>
          <a:bodyPr/>
          <a:lstStyle/>
          <a:p>
            <a:r>
              <a:rPr lang="en-GB" b="1" smtClean="0">
                <a:solidFill>
                  <a:schemeClr val="bg1"/>
                </a:solidFill>
              </a:rPr>
              <a:t>Any Questions?</a:t>
            </a:r>
          </a:p>
        </p:txBody>
      </p:sp>
      <p:sp>
        <p:nvSpPr>
          <p:cNvPr id="44034" name="Rectangle 5"/>
          <p:cNvSpPr>
            <a:spLocks noGrp="1"/>
          </p:cNvSpPr>
          <p:nvPr>
            <p:ph type="subTitle" idx="4294967295"/>
          </p:nvPr>
        </p:nvSpPr>
        <p:spPr>
          <a:xfrm>
            <a:off x="1331913" y="3651250"/>
            <a:ext cx="6400800" cy="1314450"/>
          </a:xfrm>
        </p:spPr>
        <p:txBody>
          <a:bodyPr/>
          <a:lstStyle/>
          <a:p>
            <a:pPr marL="0" indent="0" algn="ctr">
              <a:buFont typeface="Arial" charset="0"/>
              <a:buNone/>
            </a:pPr>
            <a:r>
              <a:rPr lang="en-GB" smtClean="0">
                <a:solidFill>
                  <a:schemeClr val="bg1"/>
                </a:solidFill>
              </a:rPr>
              <a:t>Email: sking6@nhs.net </a:t>
            </a:r>
          </a:p>
        </p:txBody>
      </p:sp>
    </p:spTree>
    <p:extLst>
      <p:ext uri="{BB962C8B-B14F-4D97-AF65-F5344CB8AC3E}">
        <p14:creationId xmlns:p14="http://schemas.microsoft.com/office/powerpoint/2010/main" val="3787111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2"/>
          <p:cNvSpPr>
            <a:spLocks noGrp="1" noChangeArrowheads="1"/>
          </p:cNvSpPr>
          <p:nvPr>
            <p:ph type="title"/>
          </p:nvPr>
        </p:nvSpPr>
        <p:spPr>
          <a:xfrm>
            <a:off x="755650" y="195263"/>
            <a:ext cx="7772400" cy="655637"/>
          </a:xfrm>
        </p:spPr>
        <p:txBody>
          <a:bodyPr/>
          <a:lstStyle/>
          <a:p>
            <a:pPr eaLnBrk="1" hangingPunct="1"/>
            <a:r>
              <a:rPr lang="en-GB" smtClean="0"/>
              <a:t>How it works...</a:t>
            </a:r>
          </a:p>
        </p:txBody>
      </p:sp>
      <p:graphicFrame>
        <p:nvGraphicFramePr>
          <p:cNvPr id="6" name="Diagram 5"/>
          <p:cNvGraphicFramePr/>
          <p:nvPr/>
        </p:nvGraphicFramePr>
        <p:xfrm>
          <a:off x="632198" y="1005036"/>
          <a:ext cx="7772400" cy="31884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698758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ChangeArrowheads="1"/>
          </p:cNvSpPr>
          <p:nvPr>
            <p:ph type="title"/>
          </p:nvPr>
        </p:nvSpPr>
        <p:spPr>
          <a:xfrm>
            <a:off x="684213" y="195263"/>
            <a:ext cx="7772400" cy="655637"/>
          </a:xfrm>
        </p:spPr>
        <p:txBody>
          <a:bodyPr/>
          <a:lstStyle/>
          <a:p>
            <a:pPr eaLnBrk="1" hangingPunct="1"/>
            <a:r>
              <a:rPr lang="en-GB" smtClean="0"/>
              <a:t>Hepatitis B Failsafe Aims</a:t>
            </a:r>
          </a:p>
        </p:txBody>
      </p:sp>
      <p:graphicFrame>
        <p:nvGraphicFramePr>
          <p:cNvPr id="4" name="Diagram 3"/>
          <p:cNvGraphicFramePr/>
          <p:nvPr/>
        </p:nvGraphicFramePr>
        <p:xfrm>
          <a:off x="461194" y="1104603"/>
          <a:ext cx="7560840" cy="30963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376400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685800" y="1597821"/>
          <a:ext cx="7772400" cy="11025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609142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nvGraphicFramePr>
        <p:xfrm>
          <a:off x="685800" y="1597821"/>
          <a:ext cx="7772400" cy="1102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70684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nvGraphicFramePr>
        <p:xfrm>
          <a:off x="5868144" y="1203598"/>
          <a:ext cx="1584176" cy="3693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hart 6"/>
          <p:cNvGraphicFramePr/>
          <p:nvPr/>
        </p:nvGraphicFramePr>
        <p:xfrm>
          <a:off x="251520" y="0"/>
          <a:ext cx="7416824" cy="451596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9460465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nvGraphicFramePr>
        <p:xfrm>
          <a:off x="323528" y="0"/>
          <a:ext cx="7029772" cy="465998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603991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nvGraphicFramePr>
        <p:xfrm>
          <a:off x="251520" y="123478"/>
          <a:ext cx="7344816" cy="43924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526226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179512" y="123478"/>
          <a:ext cx="7272808" cy="43204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931059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TotalTime>
  <Words>1039</Words>
  <Application>Microsoft Office PowerPoint</Application>
  <PresentationFormat>On-screen Show (16:9)</PresentationFormat>
  <Paragraphs>113</Paragraphs>
  <Slides>17</Slides>
  <Notes>13</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1" baseType="lpstr">
      <vt:lpstr>Custom Design</vt:lpstr>
      <vt:lpstr>7_Office Theme</vt:lpstr>
      <vt:lpstr>NHS_CF_LN9471</vt:lpstr>
      <vt:lpstr>think-cell Slide</vt:lpstr>
      <vt:lpstr>PowerPoint Presentation</vt:lpstr>
      <vt:lpstr>How it works...</vt:lpstr>
      <vt:lpstr>Hepatitis B Failsafe Aims</vt:lpstr>
      <vt:lpstr>PowerPoint Presentation</vt:lpstr>
      <vt:lpstr>PowerPoint Presentation</vt:lpstr>
      <vt:lpstr>PowerPoint Presentation</vt:lpstr>
      <vt:lpstr>PowerPoint Presentation</vt:lpstr>
      <vt:lpstr>PowerPoint Presentation</vt:lpstr>
      <vt:lpstr>PowerPoint Presentation</vt:lpstr>
      <vt:lpstr>Contact Data Recorded</vt:lpstr>
      <vt:lpstr>PowerPoint Presentation</vt:lpstr>
      <vt:lpstr>PowerPoint Presentation</vt:lpstr>
      <vt:lpstr>PowerPoint Presentation</vt:lpstr>
      <vt:lpstr>PowerPoint Presentation</vt:lpstr>
      <vt:lpstr>Sources of Information</vt:lpstr>
      <vt:lpstr>Range of Partner Services</vt:lpstr>
      <vt:lpstr>Any Questions?</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35</cp:revision>
  <dcterms:created xsi:type="dcterms:W3CDTF">2015-05-13T13:06:46Z</dcterms:created>
  <dcterms:modified xsi:type="dcterms:W3CDTF">2016-07-11T14:03:58Z</dcterms:modified>
</cp:coreProperties>
</file>